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5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6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theme/themeOverride1.xml" ContentType="application/vnd.openxmlformats-officedocument.themeOverride+xml"/>
  <Override PartName="/ppt/charts/chart5.xml" ContentType="application/vnd.openxmlformats-officedocument.drawingml.chart+xml"/>
  <Override PartName="/ppt/drawings/drawing1.xml" ContentType="application/vnd.openxmlformats-officedocument.drawingml.chartshapes+xml"/>
  <Override PartName="/ppt/charts/chart6.xml" ContentType="application/vnd.openxmlformats-officedocument.drawingml.chart+xml"/>
  <Override PartName="/ppt/theme/themeOverride2.xml" ContentType="application/vnd.openxmlformats-officedocument.themeOverride+xml"/>
  <Override PartName="/ppt/charts/chart7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8.xml" ContentType="application/vnd.openxmlformats-officedocument.drawingml.chart+xml"/>
  <Override PartName="/ppt/drawings/drawing2.xml" ContentType="application/vnd.openxmlformats-officedocument.drawingml.chartshapes+xml"/>
  <Override PartName="/ppt/charts/chart9.xml" ContentType="application/vnd.openxmlformats-officedocument.drawingml.chart+xml"/>
  <Override PartName="/ppt/theme/themeOverride3.xml" ContentType="application/vnd.openxmlformats-officedocument.themeOverride+xml"/>
  <Override PartName="/ppt/charts/chart10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11.xml" ContentType="application/vnd.openxmlformats-officedocument.drawingml.chart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5254" r:id="rId4"/>
    <p:sldMasterId id="2147485278" r:id="rId5"/>
    <p:sldMasterId id="2147485290" r:id="rId6"/>
    <p:sldMasterId id="2147485293" r:id="rId7"/>
    <p:sldMasterId id="2147485298" r:id="rId8"/>
    <p:sldMasterId id="2147485303" r:id="rId9"/>
  </p:sldMasterIdLst>
  <p:notesMasterIdLst>
    <p:notesMasterId r:id="rId21"/>
  </p:notesMasterIdLst>
  <p:handoutMasterIdLst>
    <p:handoutMasterId r:id="rId22"/>
  </p:handoutMasterIdLst>
  <p:sldIdLst>
    <p:sldId id="256" r:id="rId10"/>
    <p:sldId id="949" r:id="rId11"/>
    <p:sldId id="4825" r:id="rId12"/>
    <p:sldId id="4815" r:id="rId13"/>
    <p:sldId id="4816" r:id="rId14"/>
    <p:sldId id="4823" r:id="rId15"/>
    <p:sldId id="4817" r:id="rId16"/>
    <p:sldId id="4818" r:id="rId17"/>
    <p:sldId id="4819" r:id="rId18"/>
    <p:sldId id="4820" r:id="rId19"/>
    <p:sldId id="4824" r:id="rId20"/>
  </p:sldIdLst>
  <p:sldSz cx="9144000" cy="5143500" type="screen16x9"/>
  <p:notesSz cx="6797675" cy="9874250"/>
  <p:custDataLst>
    <p:tags r:id="rId23"/>
  </p:custDataLst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1000" kern="1200">
        <a:solidFill>
          <a:srgbClr val="007833"/>
        </a:solidFill>
        <a:latin typeface="Univers 55" pitchFamily="2" charset="0"/>
        <a:ea typeface="+mn-ea"/>
        <a:cs typeface="Arial" charset="0"/>
      </a:defRPr>
    </a:lvl1pPr>
    <a:lvl2pPr marL="386801" algn="l" rtl="0" fontAlgn="base">
      <a:spcBef>
        <a:spcPct val="0"/>
      </a:spcBef>
      <a:spcAft>
        <a:spcPct val="0"/>
      </a:spcAft>
      <a:defRPr sz="1000" kern="1200">
        <a:solidFill>
          <a:srgbClr val="007833"/>
        </a:solidFill>
        <a:latin typeface="Univers 55" pitchFamily="2" charset="0"/>
        <a:ea typeface="+mn-ea"/>
        <a:cs typeface="Arial" charset="0"/>
      </a:defRPr>
    </a:lvl2pPr>
    <a:lvl3pPr marL="773592" algn="l" rtl="0" fontAlgn="base">
      <a:spcBef>
        <a:spcPct val="0"/>
      </a:spcBef>
      <a:spcAft>
        <a:spcPct val="0"/>
      </a:spcAft>
      <a:defRPr sz="1000" kern="1200">
        <a:solidFill>
          <a:srgbClr val="007833"/>
        </a:solidFill>
        <a:latin typeface="Univers 55" pitchFamily="2" charset="0"/>
        <a:ea typeface="+mn-ea"/>
        <a:cs typeface="Arial" charset="0"/>
      </a:defRPr>
    </a:lvl3pPr>
    <a:lvl4pPr marL="1160394" algn="l" rtl="0" fontAlgn="base">
      <a:spcBef>
        <a:spcPct val="0"/>
      </a:spcBef>
      <a:spcAft>
        <a:spcPct val="0"/>
      </a:spcAft>
      <a:defRPr sz="1000" kern="1200">
        <a:solidFill>
          <a:srgbClr val="007833"/>
        </a:solidFill>
        <a:latin typeface="Univers 55" pitchFamily="2" charset="0"/>
        <a:ea typeface="+mn-ea"/>
        <a:cs typeface="Arial" charset="0"/>
      </a:defRPr>
    </a:lvl4pPr>
    <a:lvl5pPr marL="1547186" algn="l" rtl="0" fontAlgn="base">
      <a:spcBef>
        <a:spcPct val="0"/>
      </a:spcBef>
      <a:spcAft>
        <a:spcPct val="0"/>
      </a:spcAft>
      <a:defRPr sz="1000" kern="1200">
        <a:solidFill>
          <a:srgbClr val="007833"/>
        </a:solidFill>
        <a:latin typeface="Univers 55" pitchFamily="2" charset="0"/>
        <a:ea typeface="+mn-ea"/>
        <a:cs typeface="Arial" charset="0"/>
      </a:defRPr>
    </a:lvl5pPr>
    <a:lvl6pPr marL="1933982" algn="l" defTabSz="773592" rtl="0" eaLnBrk="1" latinLnBrk="0" hangingPunct="1">
      <a:defRPr sz="1000" kern="1200">
        <a:solidFill>
          <a:srgbClr val="007833"/>
        </a:solidFill>
        <a:latin typeface="Univers 55" pitchFamily="2" charset="0"/>
        <a:ea typeface="+mn-ea"/>
        <a:cs typeface="Arial" charset="0"/>
      </a:defRPr>
    </a:lvl6pPr>
    <a:lvl7pPr marL="2320782" algn="l" defTabSz="773592" rtl="0" eaLnBrk="1" latinLnBrk="0" hangingPunct="1">
      <a:defRPr sz="1000" kern="1200">
        <a:solidFill>
          <a:srgbClr val="007833"/>
        </a:solidFill>
        <a:latin typeface="Univers 55" pitchFamily="2" charset="0"/>
        <a:ea typeface="+mn-ea"/>
        <a:cs typeface="Arial" charset="0"/>
      </a:defRPr>
    </a:lvl7pPr>
    <a:lvl8pPr marL="2707583" algn="l" defTabSz="773592" rtl="0" eaLnBrk="1" latinLnBrk="0" hangingPunct="1">
      <a:defRPr sz="1000" kern="1200">
        <a:solidFill>
          <a:srgbClr val="007833"/>
        </a:solidFill>
        <a:latin typeface="Univers 55" pitchFamily="2" charset="0"/>
        <a:ea typeface="+mn-ea"/>
        <a:cs typeface="Arial" charset="0"/>
      </a:defRPr>
    </a:lvl8pPr>
    <a:lvl9pPr marL="3094371" algn="l" defTabSz="773592" rtl="0" eaLnBrk="1" latinLnBrk="0" hangingPunct="1">
      <a:defRPr sz="1000" kern="1200">
        <a:solidFill>
          <a:srgbClr val="007833"/>
        </a:solidFill>
        <a:latin typeface="Univers 55" pitchFamily="2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940" userDrawn="1">
          <p15:clr>
            <a:srgbClr val="A4A3A4"/>
          </p15:clr>
        </p15:guide>
        <p15:guide id="2" orient="horz" pos="1030" userDrawn="1">
          <p15:clr>
            <a:srgbClr val="A4A3A4"/>
          </p15:clr>
        </p15:guide>
        <p15:guide id="3" orient="horz" userDrawn="1">
          <p15:clr>
            <a:srgbClr val="A4A3A4"/>
          </p15:clr>
        </p15:guide>
        <p15:guide id="4" orient="horz" pos="2777" userDrawn="1">
          <p15:clr>
            <a:srgbClr val="A4A3A4"/>
          </p15:clr>
        </p15:guide>
        <p15:guide id="5" orient="horz" pos="3162" userDrawn="1">
          <p15:clr>
            <a:srgbClr val="A4A3A4"/>
          </p15:clr>
        </p15:guide>
        <p15:guide id="6" orient="horz" pos="373" userDrawn="1">
          <p15:clr>
            <a:srgbClr val="A4A3A4"/>
          </p15:clr>
        </p15:guide>
        <p15:guide id="7" orient="horz" pos="645" userDrawn="1">
          <p15:clr>
            <a:srgbClr val="A4A3A4"/>
          </p15:clr>
        </p15:guide>
        <p15:guide id="8" orient="horz" pos="2913" userDrawn="1">
          <p15:clr>
            <a:srgbClr val="A4A3A4"/>
          </p15:clr>
        </p15:guide>
        <p15:guide id="9" orient="horz" pos="3230" userDrawn="1">
          <p15:clr>
            <a:srgbClr val="A4A3A4"/>
          </p15:clr>
        </p15:guide>
        <p15:guide id="10" orient="horz" pos="2414" userDrawn="1">
          <p15:clr>
            <a:srgbClr val="A4A3A4"/>
          </p15:clr>
        </p15:guide>
        <p15:guide id="11" pos="2880">
          <p15:clr>
            <a:srgbClr val="A4A3A4"/>
          </p15:clr>
        </p15:guide>
        <p15:guide id="12" pos="308">
          <p15:clr>
            <a:srgbClr val="A4A3A4"/>
          </p15:clr>
        </p15:guide>
        <p15:guide id="13" pos="5579" userDrawn="1">
          <p15:clr>
            <a:srgbClr val="A4A3A4"/>
          </p15:clr>
        </p15:guide>
        <p15:guide id="14" pos="3288" userDrawn="1">
          <p15:clr>
            <a:srgbClr val="A4A3A4"/>
          </p15:clr>
        </p15:guide>
        <p15:guide id="15" pos="573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 userDrawn="1">
          <p15:clr>
            <a:srgbClr val="A4A3A4"/>
          </p15:clr>
        </p15:guide>
        <p15:guide id="2" pos="2143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uehl, Christof" initials="RC" lastIdx="1" clrIdx="0"/>
  <p:cmAuthor id="1" name="Naumov, Alexander" initials="NA" lastIdx="56" clrIdx="1"/>
  <p:cmAuthor id="2" name="Dunker, Kai" initials="DK" lastIdx="23" clrIdx="2"/>
  <p:cmAuthor id="3" name="Drebentsov, Vladimir" initials="VD" lastIdx="2" clrIdx="3"/>
  <p:cmAuthor id="4" name="Appleby, Paul G" initials="APG" lastIdx="54" clrIdx="4"/>
  <p:cmAuthor id="5" name="Dale, Spencer" initials="DS" lastIdx="521" clrIdx="5"/>
  <p:cmAuthor id="6" name="Finley, Mark J" initials="MJF" lastIdx="60" clrIdx="6"/>
  <p:cmAuthor id="7" name="Thompson, Armine" initials="TA" lastIdx="39" clrIdx="7"/>
  <p:cmAuthor id="8" name="de Caux, Richard" initials="dCR" lastIdx="219" clrIdx="8"/>
  <p:cmAuthor id="9" name="Zimmern, William" initials="ZW" lastIdx="15" clrIdx="9"/>
  <p:cmAuthor id="10" name="Chen, Margaret Qiao Ling" initials="CMQL" lastIdx="1" clrIdx="10"/>
  <p:cmAuthor id="11" name="Kaushik Deb" initials="KD" lastIdx="4" clrIdx="11"/>
  <p:cmAuthor id="12" name="Finley, Mark J" initials="FMJ" lastIdx="1" clrIdx="12"/>
  <p:cmAuthor id="13" name="Dunker Kai Malte" initials="DK" lastIdx="2" clrIdx="13"/>
  <p:cmAuthor id="14" name="Smith, Tom" initials="ST" lastIdx="2" clrIdx="14"/>
  <p:cmAuthor id="15" name="Catherine Ojo" initials="CO" lastIdx="3" clrIdx="15">
    <p:extLst>
      <p:ext uri="{19B8F6BF-5375-455C-9EA6-DF929625EA0E}">
        <p15:presenceInfo xmlns:p15="http://schemas.microsoft.com/office/powerpoint/2012/main" userId="Catherine Ojo" providerId="None"/>
      </p:ext>
    </p:extLst>
  </p:cmAuthor>
  <p:cmAuthor id="16" name="Lloyd, Gareth" initials="LG" lastIdx="10" clrIdx="16">
    <p:extLst>
      <p:ext uri="{19B8F6BF-5375-455C-9EA6-DF929625EA0E}">
        <p15:presenceInfo xmlns:p15="http://schemas.microsoft.com/office/powerpoint/2012/main" userId="S-1-5-21-1801674531-515967899-839522115-1752051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C00"/>
    <a:srgbClr val="7F7F7F"/>
    <a:srgbClr val="99CC00"/>
    <a:srgbClr val="000099"/>
    <a:srgbClr val="FF9900"/>
    <a:srgbClr val="006600"/>
    <a:srgbClr val="DC0000"/>
    <a:srgbClr val="007833"/>
    <a:srgbClr val="000000"/>
    <a:srgbClr val="00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3E00D66-DB85-4EAC-A4F2-8FB9AE682705}" v="576" dt="2019-01-17T14:49:44.39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829" autoAdjust="0"/>
    <p:restoredTop sz="99657" autoAdjust="0"/>
  </p:normalViewPr>
  <p:slideViewPr>
    <p:cSldViewPr snapToGrid="0">
      <p:cViewPr varScale="1">
        <p:scale>
          <a:sx n="129" d="100"/>
          <a:sy n="129" d="100"/>
        </p:scale>
        <p:origin x="510" y="90"/>
      </p:cViewPr>
      <p:guideLst>
        <p:guide orient="horz" pos="940"/>
        <p:guide orient="horz" pos="1030"/>
        <p:guide orient="horz"/>
        <p:guide orient="horz" pos="2777"/>
        <p:guide orient="horz" pos="3162"/>
        <p:guide orient="horz" pos="373"/>
        <p:guide orient="horz" pos="645"/>
        <p:guide orient="horz" pos="2913"/>
        <p:guide orient="horz" pos="3230"/>
        <p:guide orient="horz" pos="2414"/>
        <p:guide pos="2880"/>
        <p:guide pos="308"/>
        <p:guide pos="5579"/>
        <p:guide pos="3288"/>
        <p:guide pos="573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24" d="100"/>
        <a:sy n="124" d="100"/>
      </p:scale>
      <p:origin x="0" y="22056"/>
    </p:cViewPr>
  </p:sorterViewPr>
  <p:notesViewPr>
    <p:cSldViewPr snapToGrid="0">
      <p:cViewPr varScale="1">
        <p:scale>
          <a:sx n="55" d="100"/>
          <a:sy n="55" d="100"/>
        </p:scale>
        <p:origin x="-1771" y="-77"/>
      </p:cViewPr>
      <p:guideLst>
        <p:guide orient="horz" pos="3110"/>
        <p:guide pos="214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le, Spencer" userId="1c4db128-79a4-443b-b808-61be3cd8665a" providerId="ADAL" clId="{B3E00D66-DB85-4EAC-A4F2-8FB9AE682705}"/>
    <pc:docChg chg="undo custSel delSld modSld modNotesMaster modHandout">
      <pc:chgData name="Dale, Spencer" userId="1c4db128-79a4-443b-b808-61be3cd8665a" providerId="ADAL" clId="{B3E00D66-DB85-4EAC-A4F2-8FB9AE682705}" dt="2019-01-17T14:49:44.397" v="573"/>
      <pc:docMkLst>
        <pc:docMk/>
      </pc:docMkLst>
      <pc:sldChg chg="modSp">
        <pc:chgData name="Dale, Spencer" userId="1c4db128-79a4-443b-b808-61be3cd8665a" providerId="ADAL" clId="{B3E00D66-DB85-4EAC-A4F2-8FB9AE682705}" dt="2019-01-15T17:10:49.135" v="120" actId="14100"/>
        <pc:sldMkLst>
          <pc:docMk/>
          <pc:sldMk cId="70483648" sldId="256"/>
        </pc:sldMkLst>
        <pc:spChg chg="mod">
          <ac:chgData name="Dale, Spencer" userId="1c4db128-79a4-443b-b808-61be3cd8665a" providerId="ADAL" clId="{B3E00D66-DB85-4EAC-A4F2-8FB9AE682705}" dt="2019-01-15T17:10:10.567" v="75" actId="20577"/>
          <ac:spMkLst>
            <pc:docMk/>
            <pc:sldMk cId="70483648" sldId="256"/>
            <ac:spMk id="2" creationId="{A1943AED-DA33-4EF1-BFF9-D5437871443B}"/>
          </ac:spMkLst>
        </pc:spChg>
        <pc:spChg chg="mod">
          <ac:chgData name="Dale, Spencer" userId="1c4db128-79a4-443b-b808-61be3cd8665a" providerId="ADAL" clId="{B3E00D66-DB85-4EAC-A4F2-8FB9AE682705}" dt="2019-01-15T17:10:36.452" v="119" actId="6549"/>
          <ac:spMkLst>
            <pc:docMk/>
            <pc:sldMk cId="70483648" sldId="256"/>
            <ac:spMk id="4" creationId="{8779616C-4EC5-4625-B503-7F48436D027E}"/>
          </ac:spMkLst>
        </pc:spChg>
        <pc:spChg chg="mod">
          <ac:chgData name="Dale, Spencer" userId="1c4db128-79a4-443b-b808-61be3cd8665a" providerId="ADAL" clId="{B3E00D66-DB85-4EAC-A4F2-8FB9AE682705}" dt="2019-01-15T17:10:49.135" v="120" actId="14100"/>
          <ac:spMkLst>
            <pc:docMk/>
            <pc:sldMk cId="70483648" sldId="256"/>
            <ac:spMk id="8" creationId="{B7FC4822-3C99-403B-A9D3-35A0A8D5F9D3}"/>
          </ac:spMkLst>
        </pc:spChg>
      </pc:sldChg>
      <pc:sldChg chg="modSp">
        <pc:chgData name="Dale, Spencer" userId="1c4db128-79a4-443b-b808-61be3cd8665a" providerId="ADAL" clId="{B3E00D66-DB85-4EAC-A4F2-8FB9AE682705}" dt="2019-01-15T17:11:29.481" v="123" actId="20577"/>
        <pc:sldMkLst>
          <pc:docMk/>
          <pc:sldMk cId="3644183008" sldId="949"/>
        </pc:sldMkLst>
        <pc:spChg chg="mod">
          <ac:chgData name="Dale, Spencer" userId="1c4db128-79a4-443b-b808-61be3cd8665a" providerId="ADAL" clId="{B3E00D66-DB85-4EAC-A4F2-8FB9AE682705}" dt="2019-01-15T17:11:29.481" v="123" actId="20577"/>
          <ac:spMkLst>
            <pc:docMk/>
            <pc:sldMk cId="3644183008" sldId="949"/>
            <ac:spMk id="5" creationId="{26A43B37-7175-4E1D-863A-B0BE67634CEF}"/>
          </ac:spMkLst>
        </pc:spChg>
        <pc:spChg chg="mod">
          <ac:chgData name="Dale, Spencer" userId="1c4db128-79a4-443b-b808-61be3cd8665a" providerId="ADAL" clId="{B3E00D66-DB85-4EAC-A4F2-8FB9AE682705}" dt="2019-01-15T17:11:20.494" v="121" actId="207"/>
          <ac:spMkLst>
            <pc:docMk/>
            <pc:sldMk cId="3644183008" sldId="949"/>
            <ac:spMk id="6" creationId="{67119E33-4FA2-4A60-9C00-57451B32F86E}"/>
          </ac:spMkLst>
        </pc:spChg>
      </pc:sldChg>
      <pc:sldChg chg="modSp addCm delCm modCm">
        <pc:chgData name="Dale, Spencer" userId="1c4db128-79a4-443b-b808-61be3cd8665a" providerId="ADAL" clId="{B3E00D66-DB85-4EAC-A4F2-8FB9AE682705}" dt="2019-01-16T12:18:13.893" v="558"/>
        <pc:sldMkLst>
          <pc:docMk/>
          <pc:sldMk cId="2906548020" sldId="4815"/>
        </pc:sldMkLst>
        <pc:spChg chg="mod">
          <ac:chgData name="Dale, Spencer" userId="1c4db128-79a4-443b-b808-61be3cd8665a" providerId="ADAL" clId="{B3E00D66-DB85-4EAC-A4F2-8FB9AE682705}" dt="2019-01-15T17:11:52.329" v="125" actId="207"/>
          <ac:spMkLst>
            <pc:docMk/>
            <pc:sldMk cId="2906548020" sldId="4815"/>
            <ac:spMk id="6" creationId="{67119E33-4FA2-4A60-9C00-57451B32F86E}"/>
          </ac:spMkLst>
        </pc:spChg>
      </pc:sldChg>
      <pc:sldChg chg="modSp">
        <pc:chgData name="Dale, Spencer" userId="1c4db128-79a4-443b-b808-61be3cd8665a" providerId="ADAL" clId="{B3E00D66-DB85-4EAC-A4F2-8FB9AE682705}" dt="2019-01-16T12:16:56.002" v="470" actId="20577"/>
        <pc:sldMkLst>
          <pc:docMk/>
          <pc:sldMk cId="3547045572" sldId="4816"/>
        </pc:sldMkLst>
        <pc:spChg chg="mod">
          <ac:chgData name="Dale, Spencer" userId="1c4db128-79a4-443b-b808-61be3cd8665a" providerId="ADAL" clId="{B3E00D66-DB85-4EAC-A4F2-8FB9AE682705}" dt="2019-01-16T12:16:56.002" v="470" actId="20577"/>
          <ac:spMkLst>
            <pc:docMk/>
            <pc:sldMk cId="3547045572" sldId="4816"/>
            <ac:spMk id="12" creationId="{20D54BFE-6CE4-4B28-A496-CEA12A3A5FB0}"/>
          </ac:spMkLst>
        </pc:spChg>
      </pc:sldChg>
      <pc:sldChg chg="modSp addCm delCm modCm">
        <pc:chgData name="Dale, Spencer" userId="1c4db128-79a4-443b-b808-61be3cd8665a" providerId="ADAL" clId="{B3E00D66-DB85-4EAC-A4F2-8FB9AE682705}" dt="2019-01-16T12:18:44.573" v="560"/>
        <pc:sldMkLst>
          <pc:docMk/>
          <pc:sldMk cId="4141429358" sldId="4819"/>
        </pc:sldMkLst>
        <pc:spChg chg="mod">
          <ac:chgData name="Dale, Spencer" userId="1c4db128-79a4-443b-b808-61be3cd8665a" providerId="ADAL" clId="{B3E00D66-DB85-4EAC-A4F2-8FB9AE682705}" dt="2019-01-16T12:17:52.716" v="556" actId="20577"/>
          <ac:spMkLst>
            <pc:docMk/>
            <pc:sldMk cId="4141429358" sldId="4819"/>
            <ac:spMk id="12" creationId="{20D54BFE-6CE4-4B28-A496-CEA12A3A5FB0}"/>
          </ac:spMkLst>
        </pc:spChg>
      </pc:sldChg>
      <pc:sldChg chg="modSp">
        <pc:chgData name="Dale, Spencer" userId="1c4db128-79a4-443b-b808-61be3cd8665a" providerId="ADAL" clId="{B3E00D66-DB85-4EAC-A4F2-8FB9AE682705}" dt="2019-01-17T14:49:17.606" v="572" actId="20577"/>
        <pc:sldMkLst>
          <pc:docMk/>
          <pc:sldMk cId="625881245" sldId="4820"/>
        </pc:sldMkLst>
        <pc:spChg chg="mod">
          <ac:chgData name="Dale, Spencer" userId="1c4db128-79a4-443b-b808-61be3cd8665a" providerId="ADAL" clId="{B3E00D66-DB85-4EAC-A4F2-8FB9AE682705}" dt="2019-01-17T14:49:17.606" v="572" actId="20577"/>
          <ac:spMkLst>
            <pc:docMk/>
            <pc:sldMk cId="625881245" sldId="4820"/>
            <ac:spMk id="6" creationId="{336B6D4E-88EF-4E60-B98B-5FA0058FDC9D}"/>
          </ac:spMkLst>
        </pc:spChg>
        <pc:spChg chg="mod">
          <ac:chgData name="Dale, Spencer" userId="1c4db128-79a4-443b-b808-61be3cd8665a" providerId="ADAL" clId="{B3E00D66-DB85-4EAC-A4F2-8FB9AE682705}" dt="2019-01-15T17:17:42.138" v="190" actId="6549"/>
          <ac:spMkLst>
            <pc:docMk/>
            <pc:sldMk cId="625881245" sldId="4820"/>
            <ac:spMk id="12" creationId="{20D54BFE-6CE4-4B28-A496-CEA12A3A5FB0}"/>
          </ac:spMkLst>
        </pc:spChg>
      </pc:sldChg>
      <pc:sldChg chg="modSp">
        <pc:chgData name="Dale, Spencer" userId="1c4db128-79a4-443b-b808-61be3cd8665a" providerId="ADAL" clId="{B3E00D66-DB85-4EAC-A4F2-8FB9AE682705}" dt="2019-01-16T12:17:06.705" v="479" actId="20577"/>
        <pc:sldMkLst>
          <pc:docMk/>
          <pc:sldMk cId="4050160396" sldId="4823"/>
        </pc:sldMkLst>
        <pc:spChg chg="mod">
          <ac:chgData name="Dale, Spencer" userId="1c4db128-79a4-443b-b808-61be3cd8665a" providerId="ADAL" clId="{B3E00D66-DB85-4EAC-A4F2-8FB9AE682705}" dt="2019-01-16T12:17:06.705" v="479" actId="20577"/>
          <ac:spMkLst>
            <pc:docMk/>
            <pc:sldMk cId="4050160396" sldId="4823"/>
            <ac:spMk id="12" creationId="{20D54BFE-6CE4-4B28-A496-CEA12A3A5FB0}"/>
          </ac:spMkLst>
        </pc:spChg>
        <pc:spChg chg="mod">
          <ac:chgData name="Dale, Spencer" userId="1c4db128-79a4-443b-b808-61be3cd8665a" providerId="ADAL" clId="{B3E00D66-DB85-4EAC-A4F2-8FB9AE682705}" dt="2019-01-15T17:13:27.125" v="136" actId="20577"/>
          <ac:spMkLst>
            <pc:docMk/>
            <pc:sldMk cId="4050160396" sldId="4823"/>
            <ac:spMk id="24" creationId="{F33ACCC5-7636-4264-9DE1-5103EBC9263E}"/>
          </ac:spMkLst>
        </pc:spChg>
      </pc:sldChg>
      <pc:sldChg chg="delCm">
        <pc:chgData name="Dale, Spencer" userId="1c4db128-79a4-443b-b808-61be3cd8665a" providerId="ADAL" clId="{B3E00D66-DB85-4EAC-A4F2-8FB9AE682705}" dt="2019-01-16T12:18:06.592" v="557"/>
        <pc:sldMkLst>
          <pc:docMk/>
          <pc:sldMk cId="251450778" sldId="4825"/>
        </pc:sldMkLst>
      </pc:sldChg>
    </pc:docChg>
  </pc:docChgLst>
  <pc:docChgLst>
    <pc:chgData name="Lloyd, Gareth" userId="34e9f5e4-fda9-4da9-b39f-528ec415ac0f" providerId="ADAL" clId="{1FA0B550-9C9A-4604-BB1B-F9302D2EC17D}"/>
    <pc:docChg chg="undo custSel delSld modSld sldOrd">
      <pc:chgData name="Lloyd, Gareth" userId="34e9f5e4-fda9-4da9-b39f-528ec415ac0f" providerId="ADAL" clId="{1FA0B550-9C9A-4604-BB1B-F9302D2EC17D}" dt="2019-01-18T12:07:33.360" v="214" actId="255"/>
      <pc:docMkLst>
        <pc:docMk/>
      </pc:docMkLst>
      <pc:sldChg chg="addSp modSp">
        <pc:chgData name="Lloyd, Gareth" userId="34e9f5e4-fda9-4da9-b39f-528ec415ac0f" providerId="ADAL" clId="{1FA0B550-9C9A-4604-BB1B-F9302D2EC17D}" dt="2019-01-16T09:39:50.472" v="149"/>
        <pc:sldMkLst>
          <pc:docMk/>
          <pc:sldMk cId="2906548020" sldId="4815"/>
        </pc:sldMkLst>
        <pc:graphicFrameChg chg="mod">
          <ac:chgData name="Lloyd, Gareth" userId="34e9f5e4-fda9-4da9-b39f-528ec415ac0f" providerId="ADAL" clId="{1FA0B550-9C9A-4604-BB1B-F9302D2EC17D}" dt="2019-01-16T09:39:50.472" v="149"/>
          <ac:graphicFrameMkLst>
            <pc:docMk/>
            <pc:sldMk cId="2906548020" sldId="4815"/>
            <ac:graphicFrameMk id="9" creationId="{8D532D34-3551-494D-8BE7-F0528EECAB67}"/>
          </ac:graphicFrameMkLst>
        </pc:graphicFrameChg>
        <pc:cxnChg chg="add mod">
          <ac:chgData name="Lloyd, Gareth" userId="34e9f5e4-fda9-4da9-b39f-528ec415ac0f" providerId="ADAL" clId="{1FA0B550-9C9A-4604-BB1B-F9302D2EC17D}" dt="2019-01-16T09:34:51.519" v="117" actId="1076"/>
          <ac:cxnSpMkLst>
            <pc:docMk/>
            <pc:sldMk cId="2906548020" sldId="4815"/>
            <ac:cxnSpMk id="12" creationId="{D5283FF2-8CAB-43A8-991D-25F5BBB33AF5}"/>
          </ac:cxnSpMkLst>
        </pc:cxnChg>
        <pc:cxnChg chg="add mod">
          <ac:chgData name="Lloyd, Gareth" userId="34e9f5e4-fda9-4da9-b39f-528ec415ac0f" providerId="ADAL" clId="{1FA0B550-9C9A-4604-BB1B-F9302D2EC17D}" dt="2019-01-16T09:36:20.123" v="131" actId="1036"/>
          <ac:cxnSpMkLst>
            <pc:docMk/>
            <pc:sldMk cId="2906548020" sldId="4815"/>
            <ac:cxnSpMk id="14" creationId="{6AC32C77-FCCA-4677-8ACA-A7C63BAA3E3C}"/>
          </ac:cxnSpMkLst>
        </pc:cxnChg>
      </pc:sldChg>
      <pc:sldChg chg="addSp delSp modSp delCm">
        <pc:chgData name="Lloyd, Gareth" userId="34e9f5e4-fda9-4da9-b39f-528ec415ac0f" providerId="ADAL" clId="{1FA0B550-9C9A-4604-BB1B-F9302D2EC17D}" dt="2019-01-18T12:07:28.250" v="213" actId="255"/>
        <pc:sldMkLst>
          <pc:docMk/>
          <pc:sldMk cId="3547045572" sldId="4816"/>
        </pc:sldMkLst>
        <pc:spChg chg="add del">
          <ac:chgData name="Lloyd, Gareth" userId="34e9f5e4-fda9-4da9-b39f-528ec415ac0f" providerId="ADAL" clId="{1FA0B550-9C9A-4604-BB1B-F9302D2EC17D}" dt="2019-01-18T12:00:52.438" v="182" actId="478"/>
          <ac:spMkLst>
            <pc:docMk/>
            <pc:sldMk cId="3547045572" sldId="4816"/>
            <ac:spMk id="7" creationId="{9A3C2D60-4539-42D7-812E-F1B40649A370}"/>
          </ac:spMkLst>
        </pc:spChg>
        <pc:spChg chg="add del mod">
          <ac:chgData name="Lloyd, Gareth" userId="34e9f5e4-fda9-4da9-b39f-528ec415ac0f" providerId="ADAL" clId="{1FA0B550-9C9A-4604-BB1B-F9302D2EC17D}" dt="2019-01-18T12:01:38.690" v="207" actId="478"/>
          <ac:spMkLst>
            <pc:docMk/>
            <pc:sldMk cId="3547045572" sldId="4816"/>
            <ac:spMk id="8" creationId="{7293C891-0E7D-474C-90CB-420262201B16}"/>
          </ac:spMkLst>
        </pc:spChg>
        <pc:spChg chg="add">
          <ac:chgData name="Lloyd, Gareth" userId="34e9f5e4-fda9-4da9-b39f-528ec415ac0f" providerId="ADAL" clId="{1FA0B550-9C9A-4604-BB1B-F9302D2EC17D}" dt="2019-01-18T12:01:39.163" v="208"/>
          <ac:spMkLst>
            <pc:docMk/>
            <pc:sldMk cId="3547045572" sldId="4816"/>
            <ac:spMk id="9" creationId="{851B1660-17B8-4203-897E-88943E4919EE}"/>
          </ac:spMkLst>
        </pc:spChg>
        <pc:graphicFrameChg chg="add mod">
          <ac:chgData name="Lloyd, Gareth" userId="34e9f5e4-fda9-4da9-b39f-528ec415ac0f" providerId="ADAL" clId="{1FA0B550-9C9A-4604-BB1B-F9302D2EC17D}" dt="2019-01-18T12:07:28.250" v="213" actId="255"/>
          <ac:graphicFrameMkLst>
            <pc:docMk/>
            <pc:sldMk cId="3547045572" sldId="4816"/>
            <ac:graphicFrameMk id="6" creationId="{F2BCB999-D8FF-4CA2-8879-F0E3970CBD8B}"/>
          </ac:graphicFrameMkLst>
        </pc:graphicFrameChg>
        <pc:graphicFrameChg chg="del">
          <ac:chgData name="Lloyd, Gareth" userId="34e9f5e4-fda9-4da9-b39f-528ec415ac0f" providerId="ADAL" clId="{1FA0B550-9C9A-4604-BB1B-F9302D2EC17D}" dt="2019-01-16T15:07:33.615" v="179" actId="478"/>
          <ac:graphicFrameMkLst>
            <pc:docMk/>
            <pc:sldMk cId="3547045572" sldId="4816"/>
            <ac:graphicFrameMk id="19" creationId="{7928CD93-9072-4CA5-A259-4A81C6700B16}"/>
          </ac:graphicFrameMkLst>
        </pc:graphicFrameChg>
      </pc:sldChg>
      <pc:sldChg chg="addSp modSp">
        <pc:chgData name="Lloyd, Gareth" userId="34e9f5e4-fda9-4da9-b39f-528ec415ac0f" providerId="ADAL" clId="{1FA0B550-9C9A-4604-BB1B-F9302D2EC17D}" dt="2019-01-16T09:37:58.210" v="145"/>
        <pc:sldMkLst>
          <pc:docMk/>
          <pc:sldMk cId="1769861031" sldId="4817"/>
        </pc:sldMkLst>
        <pc:graphicFrameChg chg="mod">
          <ac:chgData name="Lloyd, Gareth" userId="34e9f5e4-fda9-4da9-b39f-528ec415ac0f" providerId="ADAL" clId="{1FA0B550-9C9A-4604-BB1B-F9302D2EC17D}" dt="2019-01-16T09:37:58.210" v="145"/>
          <ac:graphicFrameMkLst>
            <pc:docMk/>
            <pc:sldMk cId="1769861031" sldId="4817"/>
            <ac:graphicFrameMk id="8" creationId="{277A2282-A5DF-4CD0-B1B5-DD0122AAFA4A}"/>
          </ac:graphicFrameMkLst>
        </pc:graphicFrameChg>
        <pc:cxnChg chg="add mod">
          <ac:chgData name="Lloyd, Gareth" userId="34e9f5e4-fda9-4da9-b39f-528ec415ac0f" providerId="ADAL" clId="{1FA0B550-9C9A-4604-BB1B-F9302D2EC17D}" dt="2019-01-16T09:37:49.799" v="142" actId="14100"/>
          <ac:cxnSpMkLst>
            <pc:docMk/>
            <pc:sldMk cId="1769861031" sldId="4817"/>
            <ac:cxnSpMk id="20" creationId="{D8C013E1-8E41-4246-B612-84EB813AAE2B}"/>
          </ac:cxnSpMkLst>
        </pc:cxnChg>
      </pc:sldChg>
      <pc:sldChg chg="addSp modSp mod addCm">
        <pc:chgData name="Lloyd, Gareth" userId="34e9f5e4-fda9-4da9-b39f-528ec415ac0f" providerId="ADAL" clId="{1FA0B550-9C9A-4604-BB1B-F9302D2EC17D}" dt="2019-01-16T09:38:26.434" v="147"/>
        <pc:sldMkLst>
          <pc:docMk/>
          <pc:sldMk cId="4141429358" sldId="4819"/>
        </pc:sldMkLst>
        <pc:spChg chg="mod">
          <ac:chgData name="Lloyd, Gareth" userId="34e9f5e4-fda9-4da9-b39f-528ec415ac0f" providerId="ADAL" clId="{1FA0B550-9C9A-4604-BB1B-F9302D2EC17D}" dt="2019-01-16T09:13:35.566" v="72" actId="1037"/>
          <ac:spMkLst>
            <pc:docMk/>
            <pc:sldMk cId="4141429358" sldId="4819"/>
            <ac:spMk id="6" creationId="{86F618A5-5572-40A8-9F20-97A24D764C1D}"/>
          </ac:spMkLst>
        </pc:spChg>
        <pc:spChg chg="add mod">
          <ac:chgData name="Lloyd, Gareth" userId="34e9f5e4-fda9-4da9-b39f-528ec415ac0f" providerId="ADAL" clId="{1FA0B550-9C9A-4604-BB1B-F9302D2EC17D}" dt="2019-01-16T09:13:28.211" v="53" actId="20577"/>
          <ac:spMkLst>
            <pc:docMk/>
            <pc:sldMk cId="4141429358" sldId="4819"/>
            <ac:spMk id="10" creationId="{A8FE577C-3871-4C5E-8FB4-39DC7D8D7899}"/>
          </ac:spMkLst>
        </pc:spChg>
        <pc:spChg chg="add mod">
          <ac:chgData name="Lloyd, Gareth" userId="34e9f5e4-fda9-4da9-b39f-528ec415ac0f" providerId="ADAL" clId="{1FA0B550-9C9A-4604-BB1B-F9302D2EC17D}" dt="2019-01-16T09:34:11.023" v="107" actId="1037"/>
          <ac:spMkLst>
            <pc:docMk/>
            <pc:sldMk cId="4141429358" sldId="4819"/>
            <ac:spMk id="17" creationId="{A43AE392-26D3-420F-8C42-B09EBF454539}"/>
          </ac:spMkLst>
        </pc:spChg>
        <pc:grpChg chg="add mod">
          <ac:chgData name="Lloyd, Gareth" userId="34e9f5e4-fda9-4da9-b39f-528ec415ac0f" providerId="ADAL" clId="{1FA0B550-9C9A-4604-BB1B-F9302D2EC17D}" dt="2019-01-16T09:34:20.462" v="108" actId="14100"/>
          <ac:grpSpMkLst>
            <pc:docMk/>
            <pc:sldMk cId="4141429358" sldId="4819"/>
            <ac:grpSpMk id="13" creationId="{812DD0C0-EB79-4073-A0EB-0C6DFE5D3214}"/>
          </ac:grpSpMkLst>
        </pc:grpChg>
        <pc:graphicFrameChg chg="mod">
          <ac:chgData name="Lloyd, Gareth" userId="34e9f5e4-fda9-4da9-b39f-528ec415ac0f" providerId="ADAL" clId="{1FA0B550-9C9A-4604-BB1B-F9302D2EC17D}" dt="2019-01-16T09:33:00.965" v="77"/>
          <ac:graphicFrameMkLst>
            <pc:docMk/>
            <pc:sldMk cId="4141429358" sldId="4819"/>
            <ac:graphicFrameMk id="5" creationId="{93559826-C761-4408-8811-583E1D569B68}"/>
          </ac:graphicFrameMkLst>
        </pc:graphicFrameChg>
        <pc:cxnChg chg="add mod">
          <ac:chgData name="Lloyd, Gareth" userId="34e9f5e4-fda9-4da9-b39f-528ec415ac0f" providerId="ADAL" clId="{1FA0B550-9C9A-4604-BB1B-F9302D2EC17D}" dt="2019-01-16T09:33:23.306" v="95" actId="1035"/>
          <ac:cxnSpMkLst>
            <pc:docMk/>
            <pc:sldMk cId="4141429358" sldId="4819"/>
            <ac:cxnSpMk id="11" creationId="{944BD0F8-18F7-4834-97A8-5B7767EF271A}"/>
          </ac:cxnSpMkLst>
        </pc:cxnChg>
      </pc:sldChg>
      <pc:sldChg chg="addSp delSp modSp mod delCm">
        <pc:chgData name="Lloyd, Gareth" userId="34e9f5e4-fda9-4da9-b39f-528ec415ac0f" providerId="ADAL" clId="{1FA0B550-9C9A-4604-BB1B-F9302D2EC17D}" dt="2019-01-18T12:07:33.360" v="214" actId="255"/>
        <pc:sldMkLst>
          <pc:docMk/>
          <pc:sldMk cId="4050160396" sldId="4823"/>
        </pc:sldMkLst>
        <pc:spChg chg="add mod">
          <ac:chgData name="Lloyd, Gareth" userId="34e9f5e4-fda9-4da9-b39f-528ec415ac0f" providerId="ADAL" clId="{1FA0B550-9C9A-4604-BB1B-F9302D2EC17D}" dt="2019-01-18T12:01:33.768" v="206" actId="1076"/>
          <ac:spMkLst>
            <pc:docMk/>
            <pc:sldMk cId="4050160396" sldId="4823"/>
            <ac:spMk id="9" creationId="{D404A25C-A8D5-4379-A7A9-14B4737DA5BB}"/>
          </ac:spMkLst>
        </pc:spChg>
        <pc:spChg chg="mod">
          <ac:chgData name="Lloyd, Gareth" userId="34e9f5e4-fda9-4da9-b39f-528ec415ac0f" providerId="ADAL" clId="{1FA0B550-9C9A-4604-BB1B-F9302D2EC17D}" dt="2019-01-18T12:01:26.412" v="204" actId="20577"/>
          <ac:spMkLst>
            <pc:docMk/>
            <pc:sldMk cId="4050160396" sldId="4823"/>
            <ac:spMk id="22" creationId="{91618216-6DDF-4D40-AF44-2837920AE987}"/>
          </ac:spMkLst>
        </pc:spChg>
        <pc:graphicFrameChg chg="add mod">
          <ac:chgData name="Lloyd, Gareth" userId="34e9f5e4-fda9-4da9-b39f-528ec415ac0f" providerId="ADAL" clId="{1FA0B550-9C9A-4604-BB1B-F9302D2EC17D}" dt="2019-01-18T12:07:33.360" v="214" actId="255"/>
          <ac:graphicFrameMkLst>
            <pc:docMk/>
            <pc:sldMk cId="4050160396" sldId="4823"/>
            <ac:graphicFrameMk id="10" creationId="{44C08E64-4631-4A63-9057-C31D765AE2DF}"/>
          </ac:graphicFrameMkLst>
        </pc:graphicFrameChg>
        <pc:graphicFrameChg chg="del mod">
          <ac:chgData name="Lloyd, Gareth" userId="34e9f5e4-fda9-4da9-b39f-528ec415ac0f" providerId="ADAL" clId="{1FA0B550-9C9A-4604-BB1B-F9302D2EC17D}" dt="2019-01-18T12:07:04.635" v="211" actId="478"/>
          <ac:graphicFrameMkLst>
            <pc:docMk/>
            <pc:sldMk cId="4050160396" sldId="4823"/>
            <ac:graphicFrameMk id="19" creationId="{7928CD93-9072-4CA5-A259-4A81C6700B16}"/>
          </ac:graphicFrameMkLst>
        </pc:graphicFrameChg>
      </pc:sldChg>
      <pc:sldChg chg="delSp ord">
        <pc:chgData name="Lloyd, Gareth" userId="34e9f5e4-fda9-4da9-b39f-528ec415ac0f" providerId="ADAL" clId="{1FA0B550-9C9A-4604-BB1B-F9302D2EC17D}" dt="2019-01-16T09:36:38.641" v="136" actId="478"/>
        <pc:sldMkLst>
          <pc:docMk/>
          <pc:sldMk cId="251450778" sldId="4825"/>
        </pc:sldMkLst>
        <pc:spChg chg="del">
          <ac:chgData name="Lloyd, Gareth" userId="34e9f5e4-fda9-4da9-b39f-528ec415ac0f" providerId="ADAL" clId="{1FA0B550-9C9A-4604-BB1B-F9302D2EC17D}" dt="2019-01-16T09:36:36.468" v="134" actId="478"/>
          <ac:spMkLst>
            <pc:docMk/>
            <pc:sldMk cId="251450778" sldId="4825"/>
            <ac:spMk id="7" creationId="{EEACA08C-A1D0-4E11-BF13-3B23B93E7D3A}"/>
          </ac:spMkLst>
        </pc:spChg>
        <pc:spChg chg="del">
          <ac:chgData name="Lloyd, Gareth" userId="34e9f5e4-fda9-4da9-b39f-528ec415ac0f" providerId="ADAL" clId="{1FA0B550-9C9A-4604-BB1B-F9302D2EC17D}" dt="2019-01-16T09:36:37.896" v="135" actId="478"/>
          <ac:spMkLst>
            <pc:docMk/>
            <pc:sldMk cId="251450778" sldId="4825"/>
            <ac:spMk id="8" creationId="{64F2D5EA-210D-4D3A-BC18-60FBAE3798FA}"/>
          </ac:spMkLst>
        </pc:spChg>
        <pc:graphicFrameChg chg="del">
          <ac:chgData name="Lloyd, Gareth" userId="34e9f5e4-fda9-4da9-b39f-528ec415ac0f" providerId="ADAL" clId="{1FA0B550-9C9A-4604-BB1B-F9302D2EC17D}" dt="2019-01-16T09:36:35.205" v="133" actId="478"/>
          <ac:graphicFrameMkLst>
            <pc:docMk/>
            <pc:sldMk cId="251450778" sldId="4825"/>
            <ac:graphicFrameMk id="9" creationId="{8D532D34-3551-494D-8BE7-F0528EECAB67}"/>
          </ac:graphicFrameMkLst>
        </pc:graphicFrameChg>
        <pc:cxnChg chg="del">
          <ac:chgData name="Lloyd, Gareth" userId="34e9f5e4-fda9-4da9-b39f-528ec415ac0f" providerId="ADAL" clId="{1FA0B550-9C9A-4604-BB1B-F9302D2EC17D}" dt="2019-01-16T09:36:38.641" v="136" actId="478"/>
          <ac:cxnSpMkLst>
            <pc:docMk/>
            <pc:sldMk cId="251450778" sldId="4825"/>
            <ac:cxnSpMk id="12" creationId="{D5283FF2-8CAB-43A8-991D-25F5BBB33AF5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1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2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8.xlsx"/><Relationship Id="rId1" Type="http://schemas.openxmlformats.org/officeDocument/2006/relationships/themeOverride" Target="../theme/themeOverrid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31068557274502"/>
          <c:y val="6.0254050598115637E-2"/>
          <c:w val="0.83481627448099249"/>
          <c:h val="0.85026922710684105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HDI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006600"/>
              </a:solidFill>
              <a:ln w="9525">
                <a:solidFill>
                  <a:srgbClr val="006600"/>
                </a:solidFill>
              </a:ln>
              <a:effectLst/>
            </c:spPr>
          </c:marker>
          <c:trendline>
            <c:spPr>
              <a:ln w="25400" cap="rnd">
                <a:solidFill>
                  <a:schemeClr val="tx1"/>
                </a:solidFill>
                <a:prstDash val="solid"/>
              </a:ln>
              <a:effectLst/>
            </c:spPr>
            <c:trendlineType val="log"/>
            <c:dispRSqr val="0"/>
            <c:dispEq val="0"/>
          </c:trendline>
          <c:xVal>
            <c:numRef>
              <c:f>Sheet1!$A$2:$A$177</c:f>
              <c:numCache>
                <c:formatCode>#,##0</c:formatCode>
                <c:ptCount val="176"/>
                <c:pt idx="0">
                  <c:v>6.8880257542867058</c:v>
                </c:pt>
                <c:pt idx="1">
                  <c:v>88.110276476785998</c:v>
                </c:pt>
                <c:pt idx="2">
                  <c:v>38.680461130906316</c:v>
                </c:pt>
                <c:pt idx="3">
                  <c:v>53.094326177408391</c:v>
                </c:pt>
                <c:pt idx="4">
                  <c:v>22.664105628863773</c:v>
                </c:pt>
                <c:pt idx="5">
                  <c:v>14.430226711031647</c:v>
                </c:pt>
                <c:pt idx="6">
                  <c:v>8.1162565593905693</c:v>
                </c:pt>
                <c:pt idx="7">
                  <c:v>6.3815915088843855</c:v>
                </c:pt>
                <c:pt idx="8">
                  <c:v>35.433018984011113</c:v>
                </c:pt>
                <c:pt idx="9">
                  <c:v>9.649911016754853</c:v>
                </c:pt>
                <c:pt idx="10">
                  <c:v>4.2958251992399816</c:v>
                </c:pt>
                <c:pt idx="11">
                  <c:v>2.795720651065341</c:v>
                </c:pt>
                <c:pt idx="12">
                  <c:v>7.7950547428664452</c:v>
                </c:pt>
                <c:pt idx="13">
                  <c:v>6.2244196372096701</c:v>
                </c:pt>
                <c:pt idx="14">
                  <c:v>1.5493319787599229</c:v>
                </c:pt>
                <c:pt idx="15">
                  <c:v>10.616365221397883</c:v>
                </c:pt>
                <c:pt idx="16">
                  <c:v>2.2868459751460715</c:v>
                </c:pt>
                <c:pt idx="17">
                  <c:v>106.79833932640165</c:v>
                </c:pt>
                <c:pt idx="18">
                  <c:v>35.061566217734729</c:v>
                </c:pt>
                <c:pt idx="19">
                  <c:v>42.906884763249472</c:v>
                </c:pt>
                <c:pt idx="20">
                  <c:v>7.5260345422307422</c:v>
                </c:pt>
                <c:pt idx="21">
                  <c:v>13.311508054134185</c:v>
                </c:pt>
                <c:pt idx="22">
                  <c:v>27.099697464869255</c:v>
                </c:pt>
                <c:pt idx="23">
                  <c:v>6.8493718604068787</c:v>
                </c:pt>
                <c:pt idx="24">
                  <c:v>0.32928942509191528</c:v>
                </c:pt>
                <c:pt idx="25">
                  <c:v>10.434133557622893</c:v>
                </c:pt>
                <c:pt idx="26">
                  <c:v>58.131361140457919</c:v>
                </c:pt>
                <c:pt idx="27">
                  <c:v>2.3218159764711159</c:v>
                </c:pt>
                <c:pt idx="28">
                  <c:v>66.695952485309036</c:v>
                </c:pt>
                <c:pt idx="29">
                  <c:v>2.8334587600368653</c:v>
                </c:pt>
                <c:pt idx="30">
                  <c:v>2.1866249866557155</c:v>
                </c:pt>
                <c:pt idx="31">
                  <c:v>9.3931515549411024</c:v>
                </c:pt>
                <c:pt idx="32">
                  <c:v>1.7408686687843953</c:v>
                </c:pt>
                <c:pt idx="33">
                  <c:v>0.74681993308359773</c:v>
                </c:pt>
                <c:pt idx="34">
                  <c:v>1.7921121261320492</c:v>
                </c:pt>
                <c:pt idx="35">
                  <c:v>8.767082564700182</c:v>
                </c:pt>
                <c:pt idx="36">
                  <c:v>3.8928904840988654</c:v>
                </c:pt>
                <c:pt idx="37">
                  <c:v>4.3218312711857099</c:v>
                </c:pt>
                <c:pt idx="38">
                  <c:v>11.273666007163206</c:v>
                </c:pt>
                <c:pt idx="39">
                  <c:v>2.013192283837117</c:v>
                </c:pt>
                <c:pt idx="40">
                  <c:v>1.7372670006636444</c:v>
                </c:pt>
                <c:pt idx="41">
                  <c:v>14.179520023633096</c:v>
                </c:pt>
                <c:pt idx="42">
                  <c:v>0.46331684052602196</c:v>
                </c:pt>
                <c:pt idx="43">
                  <c:v>36.65766605022803</c:v>
                </c:pt>
                <c:pt idx="44">
                  <c:v>20.327447559468158</c:v>
                </c:pt>
                <c:pt idx="45">
                  <c:v>1.2732869469642116</c:v>
                </c:pt>
                <c:pt idx="46">
                  <c:v>191.33765572490285</c:v>
                </c:pt>
                <c:pt idx="47">
                  <c:v>3.5338217022964371</c:v>
                </c:pt>
                <c:pt idx="48">
                  <c:v>3.3427219748296748</c:v>
                </c:pt>
                <c:pt idx="49">
                  <c:v>3.5582449962651115</c:v>
                </c:pt>
                <c:pt idx="50">
                  <c:v>13.684596844798305</c:v>
                </c:pt>
                <c:pt idx="51">
                  <c:v>395.28364905642485</c:v>
                </c:pt>
                <c:pt idx="52">
                  <c:v>60.661969875725411</c:v>
                </c:pt>
                <c:pt idx="53">
                  <c:v>170.66167579131275</c:v>
                </c:pt>
                <c:pt idx="54">
                  <c:v>152.76129373420702</c:v>
                </c:pt>
                <c:pt idx="55">
                  <c:v>120.37750739156596</c:v>
                </c:pt>
                <c:pt idx="56">
                  <c:v>110.19956925544574</c:v>
                </c:pt>
                <c:pt idx="57">
                  <c:v>125.15065133880798</c:v>
                </c:pt>
                <c:pt idx="58">
                  <c:v>211.02761671617515</c:v>
                </c:pt>
                <c:pt idx="59">
                  <c:v>112.30162209698715</c:v>
                </c:pt>
                <c:pt idx="60">
                  <c:v>228.41324939771195</c:v>
                </c:pt>
                <c:pt idx="61">
                  <c:v>226.99866974316697</c:v>
                </c:pt>
                <c:pt idx="62">
                  <c:v>172.1744617192075</c:v>
                </c:pt>
                <c:pt idx="63">
                  <c:v>126.02211416940207</c:v>
                </c:pt>
                <c:pt idx="64">
                  <c:v>136.11805575728047</c:v>
                </c:pt>
                <c:pt idx="65">
                  <c:v>208.27115006553555</c:v>
                </c:pt>
                <c:pt idx="66">
                  <c:v>103.79930930322942</c:v>
                </c:pt>
                <c:pt idx="67">
                  <c:v>107.20372557558068</c:v>
                </c:pt>
                <c:pt idx="68">
                  <c:v>164.08542196874214</c:v>
                </c:pt>
                <c:pt idx="69">
                  <c:v>72.512535089299902</c:v>
                </c:pt>
                <c:pt idx="70">
                  <c:v>100.26292768982522</c:v>
                </c:pt>
                <c:pt idx="71">
                  <c:v>124.84754291861807</c:v>
                </c:pt>
                <c:pt idx="72">
                  <c:v>263.82733742424477</c:v>
                </c:pt>
                <c:pt idx="73">
                  <c:v>75.715146030338374</c:v>
                </c:pt>
                <c:pt idx="74">
                  <c:v>112.11718353117683</c:v>
                </c:pt>
                <c:pt idx="75">
                  <c:v>138.97977270310088</c:v>
                </c:pt>
                <c:pt idx="76">
                  <c:v>90.864596455678793</c:v>
                </c:pt>
                <c:pt idx="77">
                  <c:v>83.429425305734995</c:v>
                </c:pt>
                <c:pt idx="78">
                  <c:v>218.26396390267587</c:v>
                </c:pt>
                <c:pt idx="79">
                  <c:v>97.310703230865272</c:v>
                </c:pt>
                <c:pt idx="80">
                  <c:v>299.61459029616714</c:v>
                </c:pt>
                <c:pt idx="81">
                  <c:v>286.60406805293024</c:v>
                </c:pt>
                <c:pt idx="82">
                  <c:v>92.776946381602798</c:v>
                </c:pt>
                <c:pt idx="83">
                  <c:v>153.80816565464715</c:v>
                </c:pt>
                <c:pt idx="84">
                  <c:v>102.80371942705108</c:v>
                </c:pt>
                <c:pt idx="85">
                  <c:v>58.914242997634616</c:v>
                </c:pt>
                <c:pt idx="86">
                  <c:v>55.726526390219227</c:v>
                </c:pt>
                <c:pt idx="87">
                  <c:v>227.26946237179692</c:v>
                </c:pt>
                <c:pt idx="88">
                  <c:v>60.274777387161301</c:v>
                </c:pt>
                <c:pt idx="89">
                  <c:v>46.312547718391031</c:v>
                </c:pt>
                <c:pt idx="90">
                  <c:v>27.704210165276997</c:v>
                </c:pt>
                <c:pt idx="91">
                  <c:v>34.440937638692752</c:v>
                </c:pt>
                <c:pt idx="92">
                  <c:v>41.026740106021443</c:v>
                </c:pt>
                <c:pt idx="93">
                  <c:v>203.26034551142325</c:v>
                </c:pt>
                <c:pt idx="94">
                  <c:v>23.321019283746427</c:v>
                </c:pt>
                <c:pt idx="95">
                  <c:v>80.53086300285598</c:v>
                </c:pt>
                <c:pt idx="96">
                  <c:v>36.129008943779745</c:v>
                </c:pt>
                <c:pt idx="97">
                  <c:v>96.026410952395395</c:v>
                </c:pt>
                <c:pt idx="98">
                  <c:v>88.235099820618075</c:v>
                </c:pt>
                <c:pt idx="99">
                  <c:v>33.335571493784848</c:v>
                </c:pt>
                <c:pt idx="100">
                  <c:v>40.960551280483479</c:v>
                </c:pt>
                <c:pt idx="101">
                  <c:v>31.318647929061139</c:v>
                </c:pt>
                <c:pt idx="102">
                  <c:v>38.151249087239762</c:v>
                </c:pt>
                <c:pt idx="103">
                  <c:v>18.746110897613846</c:v>
                </c:pt>
                <c:pt idx="104">
                  <c:v>63.564474178973235</c:v>
                </c:pt>
                <c:pt idx="105">
                  <c:v>45.041968880422935</c:v>
                </c:pt>
                <c:pt idx="106">
                  <c:v>93.185010163539118</c:v>
                </c:pt>
                <c:pt idx="107">
                  <c:v>28.086295368272825</c:v>
                </c:pt>
                <c:pt idx="108">
                  <c:v>96.20530923321185</c:v>
                </c:pt>
                <c:pt idx="109">
                  <c:v>21.615042806923611</c:v>
                </c:pt>
                <c:pt idx="110">
                  <c:v>19.461597415964796</c:v>
                </c:pt>
                <c:pt idx="111">
                  <c:v>44.451989024126085</c:v>
                </c:pt>
                <c:pt idx="112">
                  <c:v>15.318967790831833</c:v>
                </c:pt>
                <c:pt idx="113">
                  <c:v>149.00537552594182</c:v>
                </c:pt>
                <c:pt idx="114">
                  <c:v>4.1849854229137735</c:v>
                </c:pt>
                <c:pt idx="115">
                  <c:v>54.972992377490073</c:v>
                </c:pt>
                <c:pt idx="116">
                  <c:v>86.731652346022486</c:v>
                </c:pt>
                <c:pt idx="117">
                  <c:v>39.911771962398959</c:v>
                </c:pt>
                <c:pt idx="118">
                  <c:v>26.719640475272257</c:v>
                </c:pt>
                <c:pt idx="119">
                  <c:v>35.86903959114666</c:v>
                </c:pt>
                <c:pt idx="120">
                  <c:v>133.83031804527678</c:v>
                </c:pt>
                <c:pt idx="121">
                  <c:v>47.694450929660924</c:v>
                </c:pt>
                <c:pt idx="122">
                  <c:v>75.649186600149378</c:v>
                </c:pt>
                <c:pt idx="123">
                  <c:v>30.491503881961112</c:v>
                </c:pt>
                <c:pt idx="124">
                  <c:v>39.255102345205231</c:v>
                </c:pt>
                <c:pt idx="125">
                  <c:v>58.509144924221985</c:v>
                </c:pt>
                <c:pt idx="126">
                  <c:v>336.18326967794195</c:v>
                </c:pt>
                <c:pt idx="127">
                  <c:v>140.81519732307009</c:v>
                </c:pt>
                <c:pt idx="128">
                  <c:v>476.97762043310354</c:v>
                </c:pt>
                <c:pt idx="129">
                  <c:v>128.04301419373002</c:v>
                </c:pt>
                <c:pt idx="130">
                  <c:v>52.522350624562051</c:v>
                </c:pt>
                <c:pt idx="131">
                  <c:v>395.80287920200703</c:v>
                </c:pt>
                <c:pt idx="132">
                  <c:v>259.67757544852162</c:v>
                </c:pt>
                <c:pt idx="133">
                  <c:v>57.784406533214522</c:v>
                </c:pt>
                <c:pt idx="134">
                  <c:v>411.58257721883837</c:v>
                </c:pt>
                <c:pt idx="135">
                  <c:v>43.970327877977638</c:v>
                </c:pt>
                <c:pt idx="136">
                  <c:v>19.231753381265161</c:v>
                </c:pt>
                <c:pt idx="137">
                  <c:v>6.4985215821464308</c:v>
                </c:pt>
                <c:pt idx="138">
                  <c:v>80.944120138589113</c:v>
                </c:pt>
                <c:pt idx="139">
                  <c:v>129.56494225717123</c:v>
                </c:pt>
                <c:pt idx="140">
                  <c:v>371.51756329239362</c:v>
                </c:pt>
                <c:pt idx="141">
                  <c:v>77.879929479893988</c:v>
                </c:pt>
                <c:pt idx="142">
                  <c:v>79.673623963342962</c:v>
                </c:pt>
                <c:pt idx="143">
                  <c:v>99.026224156801661</c:v>
                </c:pt>
                <c:pt idx="144">
                  <c:v>34.322221363544998</c:v>
                </c:pt>
                <c:pt idx="145">
                  <c:v>46.654756257451673</c:v>
                </c:pt>
                <c:pt idx="146">
                  <c:v>57.253088090314385</c:v>
                </c:pt>
                <c:pt idx="147">
                  <c:v>150.37109486629802</c:v>
                </c:pt>
                <c:pt idx="148">
                  <c:v>235.91488811698721</c:v>
                </c:pt>
                <c:pt idx="149">
                  <c:v>242.28906369941726</c:v>
                </c:pt>
                <c:pt idx="150">
                  <c:v>194.86541501594218</c:v>
                </c:pt>
                <c:pt idx="151">
                  <c:v>27.523030657400099</c:v>
                </c:pt>
                <c:pt idx="152">
                  <c:v>78.605588314911998</c:v>
                </c:pt>
                <c:pt idx="153">
                  <c:v>130.38644678758644</c:v>
                </c:pt>
                <c:pt idx="154">
                  <c:v>17.01314775516564</c:v>
                </c:pt>
                <c:pt idx="155">
                  <c:v>174.2848372442628</c:v>
                </c:pt>
                <c:pt idx="156">
                  <c:v>16.896406320368246</c:v>
                </c:pt>
                <c:pt idx="157">
                  <c:v>8.3061793412323723</c:v>
                </c:pt>
                <c:pt idx="158">
                  <c:v>32.711047220772613</c:v>
                </c:pt>
                <c:pt idx="159">
                  <c:v>15.444055278814609</c:v>
                </c:pt>
                <c:pt idx="160">
                  <c:v>10.894487627373762</c:v>
                </c:pt>
                <c:pt idx="161">
                  <c:v>4.6743294997484792</c:v>
                </c:pt>
                <c:pt idx="162">
                  <c:v>5.6223900457549814</c:v>
                </c:pt>
                <c:pt idx="163">
                  <c:v>9.732979625679878</c:v>
                </c:pt>
                <c:pt idx="164">
                  <c:v>13.924393918719465</c:v>
                </c:pt>
                <c:pt idx="165">
                  <c:v>409.8985823503715</c:v>
                </c:pt>
                <c:pt idx="166">
                  <c:v>67.521364608426055</c:v>
                </c:pt>
                <c:pt idx="167">
                  <c:v>57.945032608052266</c:v>
                </c:pt>
                <c:pt idx="168">
                  <c:v>5.1074995247597279</c:v>
                </c:pt>
                <c:pt idx="169">
                  <c:v>49.685257214554881</c:v>
                </c:pt>
                <c:pt idx="170">
                  <c:v>73.172117657097829</c:v>
                </c:pt>
                <c:pt idx="171">
                  <c:v>92.996733524492257</c:v>
                </c:pt>
                <c:pt idx="172">
                  <c:v>6.139497559718599</c:v>
                </c:pt>
                <c:pt idx="173">
                  <c:v>8.6015680746183349</c:v>
                </c:pt>
                <c:pt idx="174">
                  <c:v>25.089194489929461</c:v>
                </c:pt>
                <c:pt idx="175">
                  <c:v>33.364081644762216</c:v>
                </c:pt>
              </c:numCache>
            </c:numRef>
          </c:xVal>
          <c:yVal>
            <c:numRef>
              <c:f>Sheet1!$B$2:$B$177</c:f>
              <c:numCache>
                <c:formatCode>0.00</c:formatCode>
                <c:ptCount val="176"/>
                <c:pt idx="0">
                  <c:v>0.53180969920944143</c:v>
                </c:pt>
                <c:pt idx="1">
                  <c:v>0.69903005468226886</c:v>
                </c:pt>
                <c:pt idx="2">
                  <c:v>0.69560755578806399</c:v>
                </c:pt>
                <c:pt idx="3">
                  <c:v>0.75376753474292468</c:v>
                </c:pt>
                <c:pt idx="4">
                  <c:v>0.6665125699524036</c:v>
                </c:pt>
                <c:pt idx="5">
                  <c:v>0.58117856546099289</c:v>
                </c:pt>
                <c:pt idx="6">
                  <c:v>0.5024656782427469</c:v>
                </c:pt>
                <c:pt idx="7">
                  <c:v>0.58992017706695854</c:v>
                </c:pt>
                <c:pt idx="8">
                  <c:v>0.73472009733071209</c:v>
                </c:pt>
                <c:pt idx="9">
                  <c:v>0.5917381944723934</c:v>
                </c:pt>
                <c:pt idx="10">
                  <c:v>0.53771474059574553</c:v>
                </c:pt>
                <c:pt idx="11">
                  <c:v>0.46266409187558249</c:v>
                </c:pt>
                <c:pt idx="12">
                  <c:v>0.49230450211835647</c:v>
                </c:pt>
                <c:pt idx="13">
                  <c:v>0.55593848219277997</c:v>
                </c:pt>
                <c:pt idx="14">
                  <c:v>0.4574692129260281</c:v>
                </c:pt>
                <c:pt idx="15">
                  <c:v>0.58808347246845116</c:v>
                </c:pt>
                <c:pt idx="16">
                  <c:v>0.51632081469924607</c:v>
                </c:pt>
                <c:pt idx="17">
                  <c:v>0.7055994252402138</c:v>
                </c:pt>
                <c:pt idx="18">
                  <c:v>0.70221642575382892</c:v>
                </c:pt>
                <c:pt idx="19">
                  <c:v>0.71655212857754835</c:v>
                </c:pt>
                <c:pt idx="20">
                  <c:v>0.5051337229118531</c:v>
                </c:pt>
                <c:pt idx="21">
                  <c:v>0.6062825819536497</c:v>
                </c:pt>
                <c:pt idx="22">
                  <c:v>0.64652526982300351</c:v>
                </c:pt>
                <c:pt idx="23">
                  <c:v>0.43657991125082857</c:v>
                </c:pt>
                <c:pt idx="24">
                  <c:v>0.40397024739064608</c:v>
                </c:pt>
                <c:pt idx="25">
                  <c:v>0.53455328575459604</c:v>
                </c:pt>
                <c:pt idx="26">
                  <c:v>0.59056103506419477</c:v>
                </c:pt>
                <c:pt idx="27">
                  <c:v>0.4234231852553077</c:v>
                </c:pt>
                <c:pt idx="28">
                  <c:v>0.79012017483625518</c:v>
                </c:pt>
                <c:pt idx="29">
                  <c:v>0.42686886087646869</c:v>
                </c:pt>
                <c:pt idx="30">
                  <c:v>0.51916252686803011</c:v>
                </c:pt>
                <c:pt idx="31">
                  <c:v>0.51461967272490616</c:v>
                </c:pt>
                <c:pt idx="32">
                  <c:v>0.52394671239350554</c:v>
                </c:pt>
                <c:pt idx="33">
                  <c:v>0.35393119203339585</c:v>
                </c:pt>
                <c:pt idx="34">
                  <c:v>0.47655279534814654</c:v>
                </c:pt>
                <c:pt idx="35">
                  <c:v>0.51964372075859133</c:v>
                </c:pt>
                <c:pt idx="36">
                  <c:v>0.45911112163689399</c:v>
                </c:pt>
                <c:pt idx="37">
                  <c:v>0.50322000036836834</c:v>
                </c:pt>
                <c:pt idx="38">
                  <c:v>0.5883163541434715</c:v>
                </c:pt>
                <c:pt idx="39">
                  <c:v>0.41898706478985698</c:v>
                </c:pt>
                <c:pt idx="40">
                  <c:v>0.43997853797660647</c:v>
                </c:pt>
                <c:pt idx="41">
                  <c:v>0.51972943005839323</c:v>
                </c:pt>
                <c:pt idx="42">
                  <c:v>0.41721617425553165</c:v>
                </c:pt>
                <c:pt idx="43">
                  <c:v>0.65403071842824345</c:v>
                </c:pt>
                <c:pt idx="44">
                  <c:v>0.47600573090124748</c:v>
                </c:pt>
                <c:pt idx="45">
                  <c:v>0.36680934465729048</c:v>
                </c:pt>
                <c:pt idx="46">
                  <c:v>0.7965286581734321</c:v>
                </c:pt>
                <c:pt idx="47">
                  <c:v>0.46006723569790536</c:v>
                </c:pt>
                <c:pt idx="48">
                  <c:v>0.45530355322898769</c:v>
                </c:pt>
                <c:pt idx="49">
                  <c:v>0.50325355492329682</c:v>
                </c:pt>
                <c:pt idx="50">
                  <c:v>0.58947628313965317</c:v>
                </c:pt>
                <c:pt idx="51">
                  <c:v>0.92595239850071687</c:v>
                </c:pt>
                <c:pt idx="52">
                  <c:v>0.77403462077387097</c:v>
                </c:pt>
                <c:pt idx="53">
                  <c:v>0.93604342015495512</c:v>
                </c:pt>
                <c:pt idx="54">
                  <c:v>0.90080243991875186</c:v>
                </c:pt>
                <c:pt idx="55">
                  <c:v>0.92154892233940866</c:v>
                </c:pt>
                <c:pt idx="56">
                  <c:v>0.87976944514192545</c:v>
                </c:pt>
                <c:pt idx="57">
                  <c:v>0.89102021644103457</c:v>
                </c:pt>
                <c:pt idx="58">
                  <c:v>0.93063859254564973</c:v>
                </c:pt>
                <c:pt idx="59">
                  <c:v>0.8650750409424125</c:v>
                </c:pt>
                <c:pt idx="60">
                  <c:v>0.9328045492693906</c:v>
                </c:pt>
                <c:pt idx="61">
                  <c:v>0.91606603684458232</c:v>
                </c:pt>
                <c:pt idx="62">
                  <c:v>0.9077551793931995</c:v>
                </c:pt>
                <c:pt idx="63">
                  <c:v>0.92947411111012224</c:v>
                </c:pt>
                <c:pt idx="64">
                  <c:v>0.93841005899505603</c:v>
                </c:pt>
                <c:pt idx="65">
                  <c:v>0.91965277545544544</c:v>
                </c:pt>
                <c:pt idx="66">
                  <c:v>0.86993406704056964</c:v>
                </c:pt>
                <c:pt idx="67">
                  <c:v>0.84711334071287581</c:v>
                </c:pt>
                <c:pt idx="68">
                  <c:v>0.88756142888998346</c:v>
                </c:pt>
                <c:pt idx="69">
                  <c:v>0.81119175021267953</c:v>
                </c:pt>
                <c:pt idx="70">
                  <c:v>0.83784463394834396</c:v>
                </c:pt>
                <c:pt idx="71">
                  <c:v>0.85520023672264023</c:v>
                </c:pt>
                <c:pt idx="72">
                  <c:v>0.90393886089011288</c:v>
                </c:pt>
                <c:pt idx="73">
                  <c:v>0.83110227884211219</c:v>
                </c:pt>
                <c:pt idx="74">
                  <c:v>0.81300624867146398</c:v>
                </c:pt>
                <c:pt idx="75">
                  <c:v>0.89622382855890892</c:v>
                </c:pt>
                <c:pt idx="76">
                  <c:v>0.84714303913219624</c:v>
                </c:pt>
                <c:pt idx="77">
                  <c:v>0.85813514452445749</c:v>
                </c:pt>
                <c:pt idx="78">
                  <c:v>0.87104203894607279</c:v>
                </c:pt>
                <c:pt idx="79">
                  <c:v>0.86878438539869729</c:v>
                </c:pt>
                <c:pt idx="80">
                  <c:v>0.87818679465801597</c:v>
                </c:pt>
                <c:pt idx="81">
                  <c:v>0.9239135887246156</c:v>
                </c:pt>
                <c:pt idx="82">
                  <c:v>0.7517039468311737</c:v>
                </c:pt>
                <c:pt idx="83">
                  <c:v>0.80043460415804601</c:v>
                </c:pt>
                <c:pt idx="84">
                  <c:v>0.80752959552767289</c:v>
                </c:pt>
                <c:pt idx="85">
                  <c:v>0.75696542740801309</c:v>
                </c:pt>
                <c:pt idx="86">
                  <c:v>0.70984664669249209</c:v>
                </c:pt>
                <c:pt idx="87">
                  <c:v>0.70625710824131172</c:v>
                </c:pt>
                <c:pt idx="88">
                  <c:v>0.77982232852556022</c:v>
                </c:pt>
                <c:pt idx="89">
                  <c:v>0.75511268317937885</c:v>
                </c:pt>
                <c:pt idx="90">
                  <c:v>0.65001452968656281</c:v>
                </c:pt>
                <c:pt idx="91">
                  <c:v>0.69975339905275424</c:v>
                </c:pt>
                <c:pt idx="92">
                  <c:v>0.6721930332466709</c:v>
                </c:pt>
                <c:pt idx="93">
                  <c:v>0.81627548670301231</c:v>
                </c:pt>
                <c:pt idx="94">
                  <c:v>0.63983291089580574</c:v>
                </c:pt>
                <c:pt idx="95">
                  <c:v>0.82484965000841348</c:v>
                </c:pt>
                <c:pt idx="96">
                  <c:v>0.74704538259088049</c:v>
                </c:pt>
                <c:pt idx="97">
                  <c:v>0.76077299007881249</c:v>
                </c:pt>
                <c:pt idx="98">
                  <c:v>0.84285878076783016</c:v>
                </c:pt>
                <c:pt idx="99">
                  <c:v>0.74977285457469078</c:v>
                </c:pt>
                <c:pt idx="100">
                  <c:v>0.75189975257563157</c:v>
                </c:pt>
                <c:pt idx="101">
                  <c:v>0.77726760552715823</c:v>
                </c:pt>
                <c:pt idx="102">
                  <c:v>0.73579791942238093</c:v>
                </c:pt>
                <c:pt idx="103">
                  <c:v>0.65031162252060382</c:v>
                </c:pt>
                <c:pt idx="104">
                  <c:v>0.80394843313691133</c:v>
                </c:pt>
                <c:pt idx="105">
                  <c:v>0.79386463168332178</c:v>
                </c:pt>
                <c:pt idx="106">
                  <c:v>0.78932029989074803</c:v>
                </c:pt>
                <c:pt idx="107">
                  <c:v>0.69253697050931051</c:v>
                </c:pt>
                <c:pt idx="108">
                  <c:v>0.70166243405093431</c:v>
                </c:pt>
                <c:pt idx="109">
                  <c:v>0.67415872684264022</c:v>
                </c:pt>
                <c:pt idx="110">
                  <c:v>0.61671674935789755</c:v>
                </c:pt>
                <c:pt idx="111">
                  <c:v>0.73224092347513436</c:v>
                </c:pt>
                <c:pt idx="112">
                  <c:v>0.65773978911588127</c:v>
                </c:pt>
                <c:pt idx="113">
                  <c:v>0.80712629587972029</c:v>
                </c:pt>
                <c:pt idx="114">
                  <c:v>0.49794511062750563</c:v>
                </c:pt>
                <c:pt idx="115">
                  <c:v>0.71961242187116581</c:v>
                </c:pt>
                <c:pt idx="116">
                  <c:v>0.80026863095122702</c:v>
                </c:pt>
                <c:pt idx="117">
                  <c:v>0.65363724298193082</c:v>
                </c:pt>
                <c:pt idx="118">
                  <c:v>0.70755315436627941</c:v>
                </c:pt>
                <c:pt idx="119">
                  <c:v>0.74704915211912148</c:v>
                </c:pt>
                <c:pt idx="120">
                  <c:v>0.77953591018673951</c:v>
                </c:pt>
                <c:pt idx="121">
                  <c:v>0.77194849918157493</c:v>
                </c:pt>
                <c:pt idx="122">
                  <c:v>0.77784458523597233</c:v>
                </c:pt>
                <c:pt idx="123">
                  <c:v>0.72270789923458134</c:v>
                </c:pt>
                <c:pt idx="124">
                  <c:v>0.71505659303342339</c:v>
                </c:pt>
                <c:pt idx="125">
                  <c:v>0.75924536998366643</c:v>
                </c:pt>
                <c:pt idx="126">
                  <c:v>0.85329863821228358</c:v>
                </c:pt>
                <c:pt idx="127">
                  <c:v>0.79805734320084043</c:v>
                </c:pt>
                <c:pt idx="128">
                  <c:v>0.86275666039651411</c:v>
                </c:pt>
                <c:pt idx="129">
                  <c:v>0.90324484142540495</c:v>
                </c:pt>
                <c:pt idx="130">
                  <c:v>0.68531707772009054</c:v>
                </c:pt>
                <c:pt idx="131">
                  <c:v>0.8030660242495482</c:v>
                </c:pt>
                <c:pt idx="132">
                  <c:v>0.82098939527812864</c:v>
                </c:pt>
                <c:pt idx="133">
                  <c:v>0.75669598161760887</c:v>
                </c:pt>
                <c:pt idx="134">
                  <c:v>0.84610833886364012</c:v>
                </c:pt>
                <c:pt idx="135">
                  <c:v>0.73537313966980966</c:v>
                </c:pt>
                <c:pt idx="136">
                  <c:v>0.53570370082832008</c:v>
                </c:pt>
                <c:pt idx="137">
                  <c:v>0.45190042638439004</c:v>
                </c:pt>
                <c:pt idx="138">
                  <c:v>0.79063398071465241</c:v>
                </c:pt>
                <c:pt idx="139">
                  <c:v>0.94399757027811748</c:v>
                </c:pt>
                <c:pt idx="140">
                  <c:v>0.95252201967581829</c:v>
                </c:pt>
                <c:pt idx="141">
                  <c:v>0.75070973757603288</c:v>
                </c:pt>
                <c:pt idx="142">
                  <c:v>0.78669303469972784</c:v>
                </c:pt>
                <c:pt idx="143">
                  <c:v>0.76845083084919141</c:v>
                </c:pt>
                <c:pt idx="144">
                  <c:v>0.78491097340496918</c:v>
                </c:pt>
                <c:pt idx="145">
                  <c:v>0.75668718811133506</c:v>
                </c:pt>
                <c:pt idx="146">
                  <c:v>0.81369230188998121</c:v>
                </c:pt>
                <c:pt idx="147">
                  <c:v>0.90915295664779872</c:v>
                </c:pt>
                <c:pt idx="148">
                  <c:v>0.9386312851065749</c:v>
                </c:pt>
                <c:pt idx="149">
                  <c:v>0.90256112640990338</c:v>
                </c:pt>
                <c:pt idx="150">
                  <c:v>0.91668762945436066</c:v>
                </c:pt>
                <c:pt idx="151">
                  <c:v>0.69397966394211896</c:v>
                </c:pt>
                <c:pt idx="152">
                  <c:v>0.75468354591492348</c:v>
                </c:pt>
                <c:pt idx="153">
                  <c:v>0.8018076952157448</c:v>
                </c:pt>
                <c:pt idx="154">
                  <c:v>0.69893237253676199</c:v>
                </c:pt>
                <c:pt idx="155">
                  <c:v>0.93258291443370078</c:v>
                </c:pt>
                <c:pt idx="156">
                  <c:v>0.56160258568140708</c:v>
                </c:pt>
                <c:pt idx="157">
                  <c:v>0.60815583703192777</c:v>
                </c:pt>
                <c:pt idx="158">
                  <c:v>0.69399806213388093</c:v>
                </c:pt>
                <c:pt idx="159">
                  <c:v>0.7700102474771624</c:v>
                </c:pt>
                <c:pt idx="160">
                  <c:v>0.57826321273645698</c:v>
                </c:pt>
                <c:pt idx="161">
                  <c:v>0.49769511404578859</c:v>
                </c:pt>
                <c:pt idx="162">
                  <c:v>0.57403802503497448</c:v>
                </c:pt>
                <c:pt idx="163">
                  <c:v>0.58197504065757832</c:v>
                </c:pt>
                <c:pt idx="164">
                  <c:v>0.54430400197212958</c:v>
                </c:pt>
                <c:pt idx="165">
                  <c:v>0.85326697177068311</c:v>
                </c:pt>
                <c:pt idx="166">
                  <c:v>0.74081631544727133</c:v>
                </c:pt>
                <c:pt idx="167">
                  <c:v>0.60127572532629825</c:v>
                </c:pt>
                <c:pt idx="168">
                  <c:v>0.62494409767016457</c:v>
                </c:pt>
                <c:pt idx="169">
                  <c:v>0.74078795496955663</c:v>
                </c:pt>
                <c:pt idx="170">
                  <c:v>0.71686435057213438</c:v>
                </c:pt>
                <c:pt idx="171">
                  <c:v>0.61241760910528764</c:v>
                </c:pt>
                <c:pt idx="172">
                  <c:v>0.54596004143062493</c:v>
                </c:pt>
                <c:pt idx="173">
                  <c:v>0.60257391539551985</c:v>
                </c:pt>
                <c:pt idx="174">
                  <c:v>0.712812176548273</c:v>
                </c:pt>
                <c:pt idx="175">
                  <c:v>0.725644707457446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27C3-40BF-9853-B1443E6B9F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22666264"/>
        <c:axId val="1022679056"/>
      </c:scatterChart>
      <c:valAx>
        <c:axId val="1022666264"/>
        <c:scaling>
          <c:orientation val="minMax"/>
          <c:max val="500"/>
        </c:scaling>
        <c:delete val="0"/>
        <c:axPos val="b"/>
        <c:numFmt formatCode="#,##0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66666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GB" sz="1300" b="0" i="0" u="none" strike="noStrike" kern="1200" baseline="0">
                <a:solidFill>
                  <a:schemeClr val="tx1"/>
                </a:solidFill>
                <a:latin typeface="Univers for BP Light" panose="020B0403020202020204" pitchFamily="34" charset="0"/>
                <a:ea typeface="+mn-ea"/>
                <a:cs typeface="+mn-cs"/>
              </a:defRPr>
            </a:pPr>
            <a:endParaRPr lang="en-US"/>
          </a:p>
        </c:txPr>
        <c:crossAx val="1022679056"/>
        <c:crosses val="autoZero"/>
        <c:crossBetween val="midCat"/>
        <c:majorUnit val="100"/>
      </c:valAx>
      <c:valAx>
        <c:axId val="1022679056"/>
        <c:scaling>
          <c:orientation val="minMax"/>
          <c:max val="1"/>
        </c:scaling>
        <c:delete val="0"/>
        <c:axPos val="l"/>
        <c:numFmt formatCode="0.0" sourceLinked="0"/>
        <c:majorTickMark val="in"/>
        <c:minorTickMark val="none"/>
        <c:tickLblPos val="nextTo"/>
        <c:spPr>
          <a:noFill/>
          <a:ln w="9525" cap="flat" cmpd="sng" algn="ctr">
            <a:solidFill>
              <a:srgbClr val="66666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GB" sz="1300" b="0" i="0" u="none" strike="noStrike" kern="1200" baseline="0">
                <a:solidFill>
                  <a:schemeClr val="tx1"/>
                </a:solidFill>
                <a:latin typeface="Univers for BP Light" panose="020B0403020202020204" pitchFamily="34" charset="0"/>
                <a:ea typeface="+mn-ea"/>
                <a:cs typeface="+mn-cs"/>
              </a:defRPr>
            </a:pPr>
            <a:endParaRPr lang="en-US"/>
          </a:p>
        </c:txPr>
        <c:crossAx val="1022666264"/>
        <c:crosses val="autoZero"/>
        <c:crossBetween val="midCat"/>
        <c:majorUnit val="0.2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 algn="ctr">
        <a:defRPr lang="en-GB" sz="1300" b="0" i="0" u="none" strike="noStrike" kern="1200" baseline="0">
          <a:solidFill>
            <a:schemeClr val="tx1"/>
          </a:solidFill>
          <a:latin typeface="Univers for BP Light" panose="020B0403020202020204" pitchFamily="34" charset="0"/>
          <a:ea typeface="+mn-ea"/>
          <a:cs typeface="+mn-cs"/>
        </a:defRPr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5273251373778253E-2"/>
          <c:y val="5.3099184626914327E-2"/>
          <c:w val="0.82307239233286789"/>
          <c:h val="0.82823156394284425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solidFill>
                <a:srgbClr val="000099"/>
              </a:solidFill>
              <a:round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A82D-4890-B544-ABEA61BBBA27}"/>
              </c:ext>
            </c:extLst>
          </c:dPt>
          <c:dPt>
            <c:idx val="2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A82D-4890-B544-ABEA61BBBA27}"/>
              </c:ext>
            </c:extLst>
          </c:dPt>
          <c:dPt>
            <c:idx val="3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A82D-4890-B544-ABEA61BBBA27}"/>
              </c:ext>
            </c:extLst>
          </c:dPt>
          <c:dPt>
            <c:idx val="4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A82D-4890-B544-ABEA61BBBA27}"/>
              </c:ext>
            </c:extLst>
          </c:dPt>
          <c:dPt>
            <c:idx val="5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9-A82D-4890-B544-ABEA61BBBA27}"/>
              </c:ext>
            </c:extLst>
          </c:dPt>
          <c:dPt>
            <c:idx val="6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B-A82D-4890-B544-ABEA61BBBA27}"/>
              </c:ext>
            </c:extLst>
          </c:dPt>
          <c:dPt>
            <c:idx val="7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D-A82D-4890-B544-ABEA61BBBA27}"/>
              </c:ext>
            </c:extLst>
          </c:dPt>
          <c:dPt>
            <c:idx val="8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F-A82D-4890-B544-ABEA61BBBA27}"/>
              </c:ext>
            </c:extLst>
          </c:dPt>
          <c:dPt>
            <c:idx val="9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1-A82D-4890-B544-ABEA61BBBA27}"/>
              </c:ext>
            </c:extLst>
          </c:dPt>
          <c:dPt>
            <c:idx val="10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3-A82D-4890-B544-ABEA61BBBA27}"/>
              </c:ext>
            </c:extLst>
          </c:dPt>
          <c:dPt>
            <c:idx val="11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5-A82D-4890-B544-ABEA61BBBA27}"/>
              </c:ext>
            </c:extLst>
          </c:dPt>
          <c:dPt>
            <c:idx val="12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7-A82D-4890-B544-ABEA61BBBA27}"/>
              </c:ext>
            </c:extLst>
          </c:dPt>
          <c:dPt>
            <c:idx val="13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9-A82D-4890-B544-ABEA61BBBA27}"/>
              </c:ext>
            </c:extLst>
          </c:dPt>
          <c:dPt>
            <c:idx val="14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B-A82D-4890-B544-ABEA61BBBA27}"/>
              </c:ext>
            </c:extLst>
          </c:dPt>
          <c:dPt>
            <c:idx val="15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D-A82D-4890-B544-ABEA61BBBA27}"/>
              </c:ext>
            </c:extLst>
          </c:dPt>
          <c:dPt>
            <c:idx val="16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F-A82D-4890-B544-ABEA61BBBA27}"/>
              </c:ext>
            </c:extLst>
          </c:dPt>
          <c:dPt>
            <c:idx val="17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1-A82D-4890-B544-ABEA61BBBA27}"/>
              </c:ext>
            </c:extLst>
          </c:dPt>
          <c:dPt>
            <c:idx val="18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3-A82D-4890-B544-ABEA61BBBA27}"/>
              </c:ext>
            </c:extLst>
          </c:dPt>
          <c:dPt>
            <c:idx val="19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5-A82D-4890-B544-ABEA61BBBA27}"/>
              </c:ext>
            </c:extLst>
          </c:dPt>
          <c:dPt>
            <c:idx val="20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7-A82D-4890-B544-ABEA61BBBA27}"/>
              </c:ext>
            </c:extLst>
          </c:dPt>
          <c:dPt>
            <c:idx val="21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9-A82D-4890-B544-ABEA61BBBA27}"/>
              </c:ext>
            </c:extLst>
          </c:dPt>
          <c:dPt>
            <c:idx val="22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B-A82D-4890-B544-ABEA61BBBA27}"/>
              </c:ext>
            </c:extLst>
          </c:dPt>
          <c:dPt>
            <c:idx val="23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D-A82D-4890-B544-ABEA61BBBA27}"/>
              </c:ext>
            </c:extLst>
          </c:dPt>
          <c:dPt>
            <c:idx val="24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F-A82D-4890-B544-ABEA61BBBA27}"/>
              </c:ext>
            </c:extLst>
          </c:dPt>
          <c:dPt>
            <c:idx val="25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31-A82D-4890-B544-ABEA61BBBA27}"/>
              </c:ext>
            </c:extLst>
          </c:dPt>
          <c:dPt>
            <c:idx val="26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33-A82D-4890-B544-ABEA61BBBA27}"/>
              </c:ext>
            </c:extLst>
          </c:dPt>
          <c:dPt>
            <c:idx val="27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35-A82D-4890-B544-ABEA61BBBA27}"/>
              </c:ext>
            </c:extLst>
          </c:dPt>
          <c:dPt>
            <c:idx val="28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37-A82D-4890-B544-ABEA61BBBA27}"/>
              </c:ext>
            </c:extLst>
          </c:dPt>
          <c:dPt>
            <c:idx val="29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39-A82D-4890-B544-ABEA61BBBA27}"/>
              </c:ext>
            </c:extLst>
          </c:dPt>
          <c:dPt>
            <c:idx val="30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3B-A82D-4890-B544-ABEA61BBBA27}"/>
              </c:ext>
            </c:extLst>
          </c:dPt>
          <c:dPt>
            <c:idx val="31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3D-A82D-4890-B544-ABEA61BBBA27}"/>
              </c:ext>
            </c:extLst>
          </c:dPt>
          <c:dPt>
            <c:idx val="32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3F-A82D-4890-B544-ABEA61BBBA27}"/>
              </c:ext>
            </c:extLst>
          </c:dPt>
          <c:dPt>
            <c:idx val="33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41-A82D-4890-B544-ABEA61BBBA27}"/>
              </c:ext>
            </c:extLst>
          </c:dPt>
          <c:dPt>
            <c:idx val="34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43-A82D-4890-B544-ABEA61BBBA27}"/>
              </c:ext>
            </c:extLst>
          </c:dPt>
          <c:dPt>
            <c:idx val="35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45-A82D-4890-B544-ABEA61BBBA27}"/>
              </c:ext>
            </c:extLst>
          </c:dPt>
          <c:dPt>
            <c:idx val="36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47-A82D-4890-B544-ABEA61BBBA27}"/>
              </c:ext>
            </c:extLst>
          </c:dPt>
          <c:dPt>
            <c:idx val="37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49-A82D-4890-B544-ABEA61BBBA27}"/>
              </c:ext>
            </c:extLst>
          </c:dPt>
          <c:dPt>
            <c:idx val="38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4B-A82D-4890-B544-ABEA61BBBA27}"/>
              </c:ext>
            </c:extLst>
          </c:dPt>
          <c:dPt>
            <c:idx val="39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4D-A82D-4890-B544-ABEA61BBBA27}"/>
              </c:ext>
            </c:extLst>
          </c:dPt>
          <c:dPt>
            <c:idx val="40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4F-A82D-4890-B544-ABEA61BBBA27}"/>
              </c:ext>
            </c:extLst>
          </c:dPt>
          <c:dPt>
            <c:idx val="41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51-A82D-4890-B544-ABEA61BBBA27}"/>
              </c:ext>
            </c:extLst>
          </c:dPt>
          <c:dPt>
            <c:idx val="42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53-A82D-4890-B544-ABEA61BBBA27}"/>
              </c:ext>
            </c:extLst>
          </c:dPt>
          <c:dPt>
            <c:idx val="43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55-A82D-4890-B544-ABEA61BBBA27}"/>
              </c:ext>
            </c:extLst>
          </c:dPt>
          <c:dPt>
            <c:idx val="44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57-A82D-4890-B544-ABEA61BBBA27}"/>
              </c:ext>
            </c:extLst>
          </c:dPt>
          <c:dPt>
            <c:idx val="45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59-A82D-4890-B544-ABEA61BBBA27}"/>
              </c:ext>
            </c:extLst>
          </c:dPt>
          <c:dPt>
            <c:idx val="46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5B-A82D-4890-B544-ABEA61BBBA27}"/>
              </c:ext>
            </c:extLst>
          </c:dPt>
          <c:dPt>
            <c:idx val="47"/>
            <c:marker>
              <c:symbol val="diamond"/>
              <c:size val="7"/>
              <c:spPr>
                <a:solidFill>
                  <a:srgbClr val="000099"/>
                </a:solidFill>
                <a:ln w="9525">
                  <a:solidFill>
                    <a:srgbClr val="000099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C-A82D-4890-B544-ABEA61BBBA27}"/>
              </c:ext>
            </c:extLst>
          </c:dPt>
          <c:dPt>
            <c:idx val="48"/>
            <c:marker>
              <c:symbol val="diamond"/>
              <c:size val="7"/>
              <c:spPr>
                <a:solidFill>
                  <a:srgbClr val="000099"/>
                </a:solidFill>
                <a:ln w="9525">
                  <a:solidFill>
                    <a:srgbClr val="000099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D-A82D-4890-B544-ABEA61BBBA27}"/>
              </c:ext>
            </c:extLst>
          </c:dPt>
          <c:dPt>
            <c:idx val="49"/>
            <c:marker>
              <c:symbol val="diamond"/>
              <c:size val="7"/>
              <c:spPr>
                <a:solidFill>
                  <a:srgbClr val="000099"/>
                </a:solidFill>
                <a:ln w="9525">
                  <a:solidFill>
                    <a:srgbClr val="000099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E-A82D-4890-B544-ABEA61BBBA27}"/>
              </c:ext>
            </c:extLst>
          </c:dPt>
          <c:dPt>
            <c:idx val="50"/>
            <c:marker>
              <c:symbol val="diamond"/>
              <c:size val="7"/>
              <c:spPr>
                <a:solidFill>
                  <a:srgbClr val="000099"/>
                </a:solidFill>
                <a:ln w="9525">
                  <a:solidFill>
                    <a:srgbClr val="000099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F-A82D-4890-B544-ABEA61BBBA27}"/>
              </c:ext>
            </c:extLst>
          </c:dPt>
          <c:dPt>
            <c:idx val="51"/>
            <c:marker>
              <c:symbol val="diamond"/>
              <c:size val="7"/>
              <c:spPr>
                <a:solidFill>
                  <a:srgbClr val="000099"/>
                </a:solidFill>
                <a:ln w="9525">
                  <a:solidFill>
                    <a:srgbClr val="000099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0-A82D-4890-B544-ABEA61BBBA27}"/>
              </c:ext>
            </c:extLst>
          </c:dPt>
          <c:xVal>
            <c:numRef>
              <c:f>Sheet1!$A$2:$A$53</c:f>
              <c:numCache>
                <c:formatCode>General</c:formatCode>
                <c:ptCount val="52"/>
                <c:pt idx="0">
                  <c:v>1970</c:v>
                </c:pt>
                <c:pt idx="1">
                  <c:v>1971</c:v>
                </c:pt>
                <c:pt idx="2">
                  <c:v>1972</c:v>
                </c:pt>
                <c:pt idx="3">
                  <c:v>1973</c:v>
                </c:pt>
                <c:pt idx="4">
                  <c:v>1974</c:v>
                </c:pt>
                <c:pt idx="5">
                  <c:v>1975</c:v>
                </c:pt>
                <c:pt idx="6">
                  <c:v>1976</c:v>
                </c:pt>
                <c:pt idx="7">
                  <c:v>1977</c:v>
                </c:pt>
                <c:pt idx="8">
                  <c:v>1978</c:v>
                </c:pt>
                <c:pt idx="9">
                  <c:v>1979</c:v>
                </c:pt>
                <c:pt idx="10">
                  <c:v>1980</c:v>
                </c:pt>
                <c:pt idx="11">
                  <c:v>1981</c:v>
                </c:pt>
                <c:pt idx="12">
                  <c:v>1982</c:v>
                </c:pt>
                <c:pt idx="13">
                  <c:v>1983</c:v>
                </c:pt>
                <c:pt idx="14">
                  <c:v>1984</c:v>
                </c:pt>
                <c:pt idx="15">
                  <c:v>1985</c:v>
                </c:pt>
                <c:pt idx="16">
                  <c:v>1986</c:v>
                </c:pt>
                <c:pt idx="17">
                  <c:v>1987</c:v>
                </c:pt>
                <c:pt idx="18">
                  <c:v>1988</c:v>
                </c:pt>
                <c:pt idx="19">
                  <c:v>1989</c:v>
                </c:pt>
                <c:pt idx="20">
                  <c:v>1990</c:v>
                </c:pt>
                <c:pt idx="21">
                  <c:v>1991</c:v>
                </c:pt>
                <c:pt idx="22">
                  <c:v>1992</c:v>
                </c:pt>
                <c:pt idx="23">
                  <c:v>1993</c:v>
                </c:pt>
                <c:pt idx="24">
                  <c:v>1994</c:v>
                </c:pt>
                <c:pt idx="25">
                  <c:v>1995</c:v>
                </c:pt>
                <c:pt idx="26">
                  <c:v>1996</c:v>
                </c:pt>
                <c:pt idx="27">
                  <c:v>1997</c:v>
                </c:pt>
                <c:pt idx="28">
                  <c:v>1998</c:v>
                </c:pt>
                <c:pt idx="29">
                  <c:v>1999</c:v>
                </c:pt>
                <c:pt idx="30">
                  <c:v>2000</c:v>
                </c:pt>
                <c:pt idx="31">
                  <c:v>2001</c:v>
                </c:pt>
                <c:pt idx="32">
                  <c:v>2002</c:v>
                </c:pt>
                <c:pt idx="33">
                  <c:v>2003</c:v>
                </c:pt>
                <c:pt idx="34">
                  <c:v>2004</c:v>
                </c:pt>
                <c:pt idx="35">
                  <c:v>2005</c:v>
                </c:pt>
                <c:pt idx="36">
                  <c:v>2006</c:v>
                </c:pt>
                <c:pt idx="37">
                  <c:v>2007</c:v>
                </c:pt>
                <c:pt idx="38">
                  <c:v>2008</c:v>
                </c:pt>
                <c:pt idx="39">
                  <c:v>2009</c:v>
                </c:pt>
                <c:pt idx="40">
                  <c:v>2010</c:v>
                </c:pt>
                <c:pt idx="41">
                  <c:v>2011</c:v>
                </c:pt>
                <c:pt idx="42">
                  <c:v>2012</c:v>
                </c:pt>
                <c:pt idx="43">
                  <c:v>2013</c:v>
                </c:pt>
                <c:pt idx="44">
                  <c:v>2014</c:v>
                </c:pt>
                <c:pt idx="45">
                  <c:v>2015</c:v>
                </c:pt>
                <c:pt idx="46">
                  <c:v>2016</c:v>
                </c:pt>
                <c:pt idx="47">
                  <c:v>2020</c:v>
                </c:pt>
                <c:pt idx="48">
                  <c:v>2025</c:v>
                </c:pt>
                <c:pt idx="49">
                  <c:v>2030</c:v>
                </c:pt>
                <c:pt idx="50">
                  <c:v>2035</c:v>
                </c:pt>
                <c:pt idx="51">
                  <c:v>2040</c:v>
                </c:pt>
              </c:numCache>
            </c:numRef>
          </c:xVal>
          <c:yVal>
            <c:numRef>
              <c:f>Sheet1!$B$2:$B$53</c:f>
              <c:numCache>
                <c:formatCode>General</c:formatCode>
                <c:ptCount val="52"/>
                <c:pt idx="0">
                  <c:v>14481.99226151</c:v>
                </c:pt>
                <c:pt idx="1">
                  <c:v>14978.385490730001</c:v>
                </c:pt>
                <c:pt idx="2">
                  <c:v>15685.482786909999</c:v>
                </c:pt>
                <c:pt idx="3">
                  <c:v>16537.97062901</c:v>
                </c:pt>
                <c:pt idx="4">
                  <c:v>16445.592691669997</c:v>
                </c:pt>
                <c:pt idx="5">
                  <c:v>16459.585439980001</c:v>
                </c:pt>
                <c:pt idx="6">
                  <c:v>17347.432461429999</c:v>
                </c:pt>
                <c:pt idx="7">
                  <c:v>17894.510618159999</c:v>
                </c:pt>
                <c:pt idx="8">
                  <c:v>18182.15251561</c:v>
                </c:pt>
                <c:pt idx="9">
                  <c:v>18774.557338430001</c:v>
                </c:pt>
                <c:pt idx="10">
                  <c:v>18613.4075882</c:v>
                </c:pt>
                <c:pt idx="11">
                  <c:v>18378.566269800001</c:v>
                </c:pt>
                <c:pt idx="12">
                  <c:v>18193.178157099999</c:v>
                </c:pt>
                <c:pt idx="13">
                  <c:v>18356.355206299999</c:v>
                </c:pt>
                <c:pt idx="14">
                  <c:v>19043.286905000001</c:v>
                </c:pt>
                <c:pt idx="15">
                  <c:v>19475.045451899998</c:v>
                </c:pt>
                <c:pt idx="16">
                  <c:v>19808.763922100003</c:v>
                </c:pt>
                <c:pt idx="17">
                  <c:v>20420.662178199997</c:v>
                </c:pt>
                <c:pt idx="18">
                  <c:v>21103.302027400001</c:v>
                </c:pt>
                <c:pt idx="19">
                  <c:v>21512.315810100001</c:v>
                </c:pt>
                <c:pt idx="20">
                  <c:v>21598.222592900001</c:v>
                </c:pt>
                <c:pt idx="21">
                  <c:v>21609.079699099995</c:v>
                </c:pt>
                <c:pt idx="22">
                  <c:v>21685.576937800004</c:v>
                </c:pt>
                <c:pt idx="23">
                  <c:v>21718.889776999997</c:v>
                </c:pt>
                <c:pt idx="24">
                  <c:v>21961.3588691</c:v>
                </c:pt>
                <c:pt idx="25">
                  <c:v>22220.211350400001</c:v>
                </c:pt>
                <c:pt idx="26">
                  <c:v>22849.546730499998</c:v>
                </c:pt>
                <c:pt idx="27">
                  <c:v>23055.931546999996</c:v>
                </c:pt>
                <c:pt idx="28">
                  <c:v>23130.264635999993</c:v>
                </c:pt>
                <c:pt idx="29">
                  <c:v>23460.830858999998</c:v>
                </c:pt>
                <c:pt idx="30">
                  <c:v>24003.372398</c:v>
                </c:pt>
                <c:pt idx="31">
                  <c:v>24340.423352999998</c:v>
                </c:pt>
                <c:pt idx="32">
                  <c:v>24880.466564999999</c:v>
                </c:pt>
                <c:pt idx="33">
                  <c:v>26115.118173000003</c:v>
                </c:pt>
                <c:pt idx="34">
                  <c:v>27436.590644000004</c:v>
                </c:pt>
                <c:pt idx="35">
                  <c:v>28549.805552999998</c:v>
                </c:pt>
                <c:pt idx="36">
                  <c:v>29430.087244000002</c:v>
                </c:pt>
                <c:pt idx="37">
                  <c:v>30481.874179999999</c:v>
                </c:pt>
                <c:pt idx="38">
                  <c:v>30800.378884000005</c:v>
                </c:pt>
                <c:pt idx="39">
                  <c:v>30145.294150000002</c:v>
                </c:pt>
                <c:pt idx="40">
                  <c:v>31528.396478999999</c:v>
                </c:pt>
                <c:pt idx="41">
                  <c:v>32413.035040999999</c:v>
                </c:pt>
                <c:pt idx="42">
                  <c:v>32740.195563000001</c:v>
                </c:pt>
                <c:pt idx="43">
                  <c:v>33226.122642999995</c:v>
                </c:pt>
                <c:pt idx="44">
                  <c:v>33342.542867000004</c:v>
                </c:pt>
                <c:pt idx="45">
                  <c:v>33302.822420968412</c:v>
                </c:pt>
                <c:pt idx="46" formatCode="0">
                  <c:v>33430.93901596841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61-A82D-4890-B544-ABEA61BBBA2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Evolving transition</c:v>
                </c:pt>
              </c:strCache>
            </c:strRef>
          </c:tx>
          <c:spPr>
            <a:ln w="28575" cap="rnd">
              <a:solidFill>
                <a:srgbClr val="000099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rgbClr val="000099"/>
              </a:solidFill>
              <a:ln w="9525">
                <a:noFill/>
              </a:ln>
              <a:effectLst/>
            </c:spPr>
          </c:marker>
          <c:dPt>
            <c:idx val="46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62-A82D-4890-B544-ABEA61BBBA27}"/>
              </c:ext>
            </c:extLst>
          </c:dPt>
          <c:dPt>
            <c:idx val="47"/>
            <c:marker>
              <c:symbol val="circle"/>
              <c:size val="7"/>
              <c:spPr>
                <a:solidFill>
                  <a:srgbClr val="000099"/>
                </a:solidFill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3-A82D-4890-B544-ABEA61BBBA27}"/>
              </c:ext>
            </c:extLst>
          </c:dPt>
          <c:dPt>
            <c:idx val="48"/>
            <c:marker>
              <c:symbol val="circle"/>
              <c:size val="7"/>
              <c:spPr>
                <a:solidFill>
                  <a:srgbClr val="000099"/>
                </a:solidFill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4-A82D-4890-B544-ABEA61BBBA27}"/>
              </c:ext>
            </c:extLst>
          </c:dPt>
          <c:dPt>
            <c:idx val="49"/>
            <c:marker>
              <c:symbol val="circle"/>
              <c:size val="7"/>
              <c:spPr>
                <a:solidFill>
                  <a:srgbClr val="000099"/>
                </a:solidFill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5-A82D-4890-B544-ABEA61BBBA27}"/>
              </c:ext>
            </c:extLst>
          </c:dPt>
          <c:dPt>
            <c:idx val="50"/>
            <c:marker>
              <c:symbol val="circle"/>
              <c:size val="7"/>
              <c:spPr>
                <a:solidFill>
                  <a:srgbClr val="000099"/>
                </a:solidFill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6-A82D-4890-B544-ABEA61BBBA27}"/>
              </c:ext>
            </c:extLst>
          </c:dPt>
          <c:dPt>
            <c:idx val="51"/>
            <c:marker>
              <c:symbol val="circle"/>
              <c:size val="7"/>
              <c:spPr>
                <a:solidFill>
                  <a:srgbClr val="000099"/>
                </a:solidFill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7-A82D-4890-B544-ABEA61BBBA27}"/>
              </c:ext>
            </c:extLst>
          </c:dPt>
          <c:xVal>
            <c:numRef>
              <c:f>Sheet1!$A$2:$A$53</c:f>
              <c:numCache>
                <c:formatCode>General</c:formatCode>
                <c:ptCount val="52"/>
                <c:pt idx="0">
                  <c:v>1970</c:v>
                </c:pt>
                <c:pt idx="1">
                  <c:v>1971</c:v>
                </c:pt>
                <c:pt idx="2">
                  <c:v>1972</c:v>
                </c:pt>
                <c:pt idx="3">
                  <c:v>1973</c:v>
                </c:pt>
                <c:pt idx="4">
                  <c:v>1974</c:v>
                </c:pt>
                <c:pt idx="5">
                  <c:v>1975</c:v>
                </c:pt>
                <c:pt idx="6">
                  <c:v>1976</c:v>
                </c:pt>
                <c:pt idx="7">
                  <c:v>1977</c:v>
                </c:pt>
                <c:pt idx="8">
                  <c:v>1978</c:v>
                </c:pt>
                <c:pt idx="9">
                  <c:v>1979</c:v>
                </c:pt>
                <c:pt idx="10">
                  <c:v>1980</c:v>
                </c:pt>
                <c:pt idx="11">
                  <c:v>1981</c:v>
                </c:pt>
                <c:pt idx="12">
                  <c:v>1982</c:v>
                </c:pt>
                <c:pt idx="13">
                  <c:v>1983</c:v>
                </c:pt>
                <c:pt idx="14">
                  <c:v>1984</c:v>
                </c:pt>
                <c:pt idx="15">
                  <c:v>1985</c:v>
                </c:pt>
                <c:pt idx="16">
                  <c:v>1986</c:v>
                </c:pt>
                <c:pt idx="17">
                  <c:v>1987</c:v>
                </c:pt>
                <c:pt idx="18">
                  <c:v>1988</c:v>
                </c:pt>
                <c:pt idx="19">
                  <c:v>1989</c:v>
                </c:pt>
                <c:pt idx="20">
                  <c:v>1990</c:v>
                </c:pt>
                <c:pt idx="21">
                  <c:v>1991</c:v>
                </c:pt>
                <c:pt idx="22">
                  <c:v>1992</c:v>
                </c:pt>
                <c:pt idx="23">
                  <c:v>1993</c:v>
                </c:pt>
                <c:pt idx="24">
                  <c:v>1994</c:v>
                </c:pt>
                <c:pt idx="25">
                  <c:v>1995</c:v>
                </c:pt>
                <c:pt idx="26">
                  <c:v>1996</c:v>
                </c:pt>
                <c:pt idx="27">
                  <c:v>1997</c:v>
                </c:pt>
                <c:pt idx="28">
                  <c:v>1998</c:v>
                </c:pt>
                <c:pt idx="29">
                  <c:v>1999</c:v>
                </c:pt>
                <c:pt idx="30">
                  <c:v>2000</c:v>
                </c:pt>
                <c:pt idx="31">
                  <c:v>2001</c:v>
                </c:pt>
                <c:pt idx="32">
                  <c:v>2002</c:v>
                </c:pt>
                <c:pt idx="33">
                  <c:v>2003</c:v>
                </c:pt>
                <c:pt idx="34">
                  <c:v>2004</c:v>
                </c:pt>
                <c:pt idx="35">
                  <c:v>2005</c:v>
                </c:pt>
                <c:pt idx="36">
                  <c:v>2006</c:v>
                </c:pt>
                <c:pt idx="37">
                  <c:v>2007</c:v>
                </c:pt>
                <c:pt idx="38">
                  <c:v>2008</c:v>
                </c:pt>
                <c:pt idx="39">
                  <c:v>2009</c:v>
                </c:pt>
                <c:pt idx="40">
                  <c:v>2010</c:v>
                </c:pt>
                <c:pt idx="41">
                  <c:v>2011</c:v>
                </c:pt>
                <c:pt idx="42">
                  <c:v>2012</c:v>
                </c:pt>
                <c:pt idx="43">
                  <c:v>2013</c:v>
                </c:pt>
                <c:pt idx="44">
                  <c:v>2014</c:v>
                </c:pt>
                <c:pt idx="45">
                  <c:v>2015</c:v>
                </c:pt>
                <c:pt idx="46">
                  <c:v>2016</c:v>
                </c:pt>
                <c:pt idx="47">
                  <c:v>2020</c:v>
                </c:pt>
                <c:pt idx="48">
                  <c:v>2025</c:v>
                </c:pt>
                <c:pt idx="49">
                  <c:v>2030</c:v>
                </c:pt>
                <c:pt idx="50">
                  <c:v>2035</c:v>
                </c:pt>
                <c:pt idx="51">
                  <c:v>2040</c:v>
                </c:pt>
              </c:numCache>
            </c:numRef>
          </c:xVal>
          <c:yVal>
            <c:numRef>
              <c:f>Sheet1!$C$2:$C$53</c:f>
              <c:numCache>
                <c:formatCode>General</c:formatCode>
                <c:ptCount val="52"/>
                <c:pt idx="46" formatCode="0">
                  <c:v>33430.939015968419</c:v>
                </c:pt>
                <c:pt idx="47" formatCode="0">
                  <c:v>34502.219796947727</c:v>
                </c:pt>
                <c:pt idx="48" formatCode="0">
                  <c:v>36031.434476732567</c:v>
                </c:pt>
                <c:pt idx="49" formatCode="0">
                  <c:v>36667.370935337844</c:v>
                </c:pt>
                <c:pt idx="50" formatCode="0">
                  <c:v>36949.683569448018</c:v>
                </c:pt>
                <c:pt idx="51" formatCode="0">
                  <c:v>36775.92052578175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68-A82D-4890-B544-ABEA61BBBA27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Low carbon (LC)</c:v>
                </c:pt>
              </c:strCache>
            </c:strRef>
          </c:tx>
          <c:spPr>
            <a:ln w="28575" cap="rnd">
              <a:solidFill>
                <a:srgbClr val="FF6600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rgbClr val="FF6600"/>
              </a:solidFill>
              <a:ln w="9525">
                <a:noFill/>
              </a:ln>
              <a:effectLst/>
            </c:spPr>
          </c:marker>
          <c:dPt>
            <c:idx val="46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69-A82D-4890-B544-ABEA61BBBA27}"/>
              </c:ext>
            </c:extLst>
          </c:dPt>
          <c:xVal>
            <c:numRef>
              <c:f>Sheet1!$A$2:$A$53</c:f>
              <c:numCache>
                <c:formatCode>General</c:formatCode>
                <c:ptCount val="52"/>
                <c:pt idx="0">
                  <c:v>1970</c:v>
                </c:pt>
                <c:pt idx="1">
                  <c:v>1971</c:v>
                </c:pt>
                <c:pt idx="2">
                  <c:v>1972</c:v>
                </c:pt>
                <c:pt idx="3">
                  <c:v>1973</c:v>
                </c:pt>
                <c:pt idx="4">
                  <c:v>1974</c:v>
                </c:pt>
                <c:pt idx="5">
                  <c:v>1975</c:v>
                </c:pt>
                <c:pt idx="6">
                  <c:v>1976</c:v>
                </c:pt>
                <c:pt idx="7">
                  <c:v>1977</c:v>
                </c:pt>
                <c:pt idx="8">
                  <c:v>1978</c:v>
                </c:pt>
                <c:pt idx="9">
                  <c:v>1979</c:v>
                </c:pt>
                <c:pt idx="10">
                  <c:v>1980</c:v>
                </c:pt>
                <c:pt idx="11">
                  <c:v>1981</c:v>
                </c:pt>
                <c:pt idx="12">
                  <c:v>1982</c:v>
                </c:pt>
                <c:pt idx="13">
                  <c:v>1983</c:v>
                </c:pt>
                <c:pt idx="14">
                  <c:v>1984</c:v>
                </c:pt>
                <c:pt idx="15">
                  <c:v>1985</c:v>
                </c:pt>
                <c:pt idx="16">
                  <c:v>1986</c:v>
                </c:pt>
                <c:pt idx="17">
                  <c:v>1987</c:v>
                </c:pt>
                <c:pt idx="18">
                  <c:v>1988</c:v>
                </c:pt>
                <c:pt idx="19">
                  <c:v>1989</c:v>
                </c:pt>
                <c:pt idx="20">
                  <c:v>1990</c:v>
                </c:pt>
                <c:pt idx="21">
                  <c:v>1991</c:v>
                </c:pt>
                <c:pt idx="22">
                  <c:v>1992</c:v>
                </c:pt>
                <c:pt idx="23">
                  <c:v>1993</c:v>
                </c:pt>
                <c:pt idx="24">
                  <c:v>1994</c:v>
                </c:pt>
                <c:pt idx="25">
                  <c:v>1995</c:v>
                </c:pt>
                <c:pt idx="26">
                  <c:v>1996</c:v>
                </c:pt>
                <c:pt idx="27">
                  <c:v>1997</c:v>
                </c:pt>
                <c:pt idx="28">
                  <c:v>1998</c:v>
                </c:pt>
                <c:pt idx="29">
                  <c:v>1999</c:v>
                </c:pt>
                <c:pt idx="30">
                  <c:v>2000</c:v>
                </c:pt>
                <c:pt idx="31">
                  <c:v>2001</c:v>
                </c:pt>
                <c:pt idx="32">
                  <c:v>2002</c:v>
                </c:pt>
                <c:pt idx="33">
                  <c:v>2003</c:v>
                </c:pt>
                <c:pt idx="34">
                  <c:v>2004</c:v>
                </c:pt>
                <c:pt idx="35">
                  <c:v>2005</c:v>
                </c:pt>
                <c:pt idx="36">
                  <c:v>2006</c:v>
                </c:pt>
                <c:pt idx="37">
                  <c:v>2007</c:v>
                </c:pt>
                <c:pt idx="38">
                  <c:v>2008</c:v>
                </c:pt>
                <c:pt idx="39">
                  <c:v>2009</c:v>
                </c:pt>
                <c:pt idx="40">
                  <c:v>2010</c:v>
                </c:pt>
                <c:pt idx="41">
                  <c:v>2011</c:v>
                </c:pt>
                <c:pt idx="42">
                  <c:v>2012</c:v>
                </c:pt>
                <c:pt idx="43">
                  <c:v>2013</c:v>
                </c:pt>
                <c:pt idx="44">
                  <c:v>2014</c:v>
                </c:pt>
                <c:pt idx="45">
                  <c:v>2015</c:v>
                </c:pt>
                <c:pt idx="46">
                  <c:v>2016</c:v>
                </c:pt>
                <c:pt idx="47">
                  <c:v>2020</c:v>
                </c:pt>
                <c:pt idx="48">
                  <c:v>2025</c:v>
                </c:pt>
                <c:pt idx="49">
                  <c:v>2030</c:v>
                </c:pt>
                <c:pt idx="50">
                  <c:v>2035</c:v>
                </c:pt>
                <c:pt idx="51">
                  <c:v>2040</c:v>
                </c:pt>
              </c:numCache>
            </c:numRef>
          </c:xVal>
          <c:yVal>
            <c:numRef>
              <c:f>Sheet1!$E$2:$E$53</c:f>
              <c:numCache>
                <c:formatCode>General</c:formatCode>
                <c:ptCount val="52"/>
                <c:pt idx="46" formatCode="0">
                  <c:v>33430.939015968419</c:v>
                </c:pt>
                <c:pt idx="47" formatCode="0">
                  <c:v>32022.852265258603</c:v>
                </c:pt>
                <c:pt idx="48" formatCode="0">
                  <c:v>29441.285245401905</c:v>
                </c:pt>
                <c:pt idx="49" formatCode="0">
                  <c:v>26300.578347860635</c:v>
                </c:pt>
                <c:pt idx="50" formatCode="0">
                  <c:v>22073.203323143221</c:v>
                </c:pt>
                <c:pt idx="51" formatCode="0">
                  <c:v>17629.74200536896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6A-A82D-4890-B544-ABEA61BBBA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05616768"/>
        <c:axId val="705615456"/>
      </c:scatterChart>
      <c:valAx>
        <c:axId val="705616768"/>
        <c:scaling>
          <c:orientation val="minMax"/>
          <c:max val="2040"/>
          <c:min val="1970"/>
        </c:scaling>
        <c:delete val="0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66666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GB" sz="1300" b="0" i="0" u="none" strike="noStrike" kern="1200" baseline="0">
                <a:solidFill>
                  <a:srgbClr val="000000"/>
                </a:solidFill>
                <a:latin typeface="Univers for BP Light" panose="020B0403020202020204" pitchFamily="34" charset="0"/>
                <a:ea typeface="Univers 55"/>
                <a:cs typeface="Univers 55"/>
              </a:defRPr>
            </a:pPr>
            <a:endParaRPr lang="en-US"/>
          </a:p>
        </c:txPr>
        <c:crossAx val="705615456"/>
        <c:crosses val="autoZero"/>
        <c:crossBetween val="midCat"/>
        <c:majorUnit val="10"/>
      </c:valAx>
      <c:valAx>
        <c:axId val="705615456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in"/>
        <c:minorTickMark val="none"/>
        <c:tickLblPos val="nextTo"/>
        <c:spPr>
          <a:noFill/>
          <a:ln w="9525" cap="flat" cmpd="sng" algn="ctr">
            <a:solidFill>
              <a:srgbClr val="66666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GB" sz="1300" b="0" i="0" u="none" strike="noStrike" kern="1200" baseline="0">
                <a:solidFill>
                  <a:srgbClr val="000000"/>
                </a:solidFill>
                <a:latin typeface="Univers for BP Light" panose="020B0403020202020204" pitchFamily="34" charset="0"/>
                <a:ea typeface="Univers 55"/>
                <a:cs typeface="Univers 55"/>
              </a:defRPr>
            </a:pPr>
            <a:endParaRPr lang="en-US"/>
          </a:p>
        </c:txPr>
        <c:crossAx val="705616768"/>
        <c:crosses val="autoZero"/>
        <c:crossBetween val="midCat"/>
        <c:majorUnit val="10000"/>
        <c:dispUnits>
          <c:builtInUnit val="thousands"/>
        </c:dispUnits>
      </c:valAx>
      <c:spPr>
        <a:noFill/>
        <a:ln>
          <a:noFill/>
        </a:ln>
        <a:effectLst/>
      </c:spPr>
    </c:plotArea>
    <c:legend>
      <c:legendPos val="r"/>
      <c:legendEntry>
        <c:idx val="0"/>
        <c:delete val="1"/>
      </c:legendEntry>
      <c:layout>
        <c:manualLayout>
          <c:xMode val="edge"/>
          <c:yMode val="edge"/>
          <c:x val="0.13279531666959066"/>
          <c:y val="6.8700777889150133E-2"/>
          <c:w val="0.30925885742250619"/>
          <c:h val="0.29266878474098718"/>
        </c:manualLayout>
      </c:layout>
      <c:overlay val="1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GB" sz="1300" b="0" i="0" u="none" strike="noStrike" kern="1200" baseline="0">
              <a:solidFill>
                <a:schemeClr val="tx1"/>
              </a:solidFill>
              <a:latin typeface="Univers for BP" panose="020B0603020202020204" pitchFamily="34" charset="0"/>
              <a:ea typeface="Univers 55"/>
              <a:cs typeface="Univers 55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 algn="ctr">
        <a:defRPr lang="en-GB" sz="1200" b="0" i="0" u="none" strike="noStrike" kern="1200" baseline="0">
          <a:solidFill>
            <a:srgbClr val="000000"/>
          </a:solidFill>
          <a:latin typeface="Univers for BP Light" panose="020B0403020202020204" pitchFamily="34" charset="0"/>
          <a:ea typeface="Univers 55"/>
          <a:cs typeface="Univers 55"/>
        </a:defRPr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190899885863189"/>
          <c:y val="6.5473566951704601E-2"/>
          <c:w val="0.6478442150361402"/>
          <c:h val="0.772660561163585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Check!$B$4</c:f>
              <c:strCache>
                <c:ptCount val="1"/>
                <c:pt idx="0">
                  <c:v>Oil</c:v>
                </c:pt>
              </c:strCache>
            </c:strRef>
          </c:tx>
          <c:spPr>
            <a:solidFill>
              <a:srgbClr val="99CC00"/>
            </a:solidFill>
            <a:ln w="9525">
              <a:solidFill>
                <a:schemeClr val="bg1">
                  <a:lumMod val="75000"/>
                </a:schemeClr>
              </a:solidFill>
            </a:ln>
          </c:spPr>
          <c:invertIfNegative val="0"/>
          <c:cat>
            <c:strRef>
              <c:f>Check!$C$3:$E$3</c:f>
              <c:strCache>
                <c:ptCount val="3"/>
                <c:pt idx="0">
                  <c:v>2017</c:v>
                </c:pt>
                <c:pt idx="1">
                  <c:v>ET</c:v>
                </c:pt>
                <c:pt idx="2">
                  <c:v>LC</c:v>
                </c:pt>
              </c:strCache>
            </c:strRef>
          </c:cat>
          <c:val>
            <c:numRef>
              <c:f>Check!$C$4:$E$4</c:f>
              <c:numCache>
                <c:formatCode>0</c:formatCode>
                <c:ptCount val="3"/>
                <c:pt idx="0">
                  <c:v>4537.7423399949694</c:v>
                </c:pt>
                <c:pt idx="1">
                  <c:v>4835.5843258644354</c:v>
                </c:pt>
                <c:pt idx="2">
                  <c:v>3573.20095802261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5FA-43AF-82A9-626EEE582B28}"/>
            </c:ext>
          </c:extLst>
        </c:ser>
        <c:ser>
          <c:idx val="1"/>
          <c:order val="1"/>
          <c:tx>
            <c:strRef>
              <c:f>Check!$B$5</c:f>
              <c:strCache>
                <c:ptCount val="1"/>
                <c:pt idx="0">
                  <c:v>Gas</c:v>
                </c:pt>
              </c:strCache>
            </c:strRef>
          </c:tx>
          <c:spPr>
            <a:solidFill>
              <a:srgbClr val="DC0000"/>
            </a:solidFill>
            <a:ln w="9525">
              <a:solidFill>
                <a:schemeClr val="bg1">
                  <a:lumMod val="75000"/>
                </a:schemeClr>
              </a:solidFill>
            </a:ln>
          </c:spPr>
          <c:invertIfNegative val="0"/>
          <c:cat>
            <c:strRef>
              <c:f>Check!$C$3:$E$3</c:f>
              <c:strCache>
                <c:ptCount val="3"/>
                <c:pt idx="0">
                  <c:v>2017</c:v>
                </c:pt>
                <c:pt idx="1">
                  <c:v>ET</c:v>
                </c:pt>
                <c:pt idx="2">
                  <c:v>LC</c:v>
                </c:pt>
              </c:strCache>
            </c:strRef>
          </c:cat>
          <c:val>
            <c:numRef>
              <c:f>Check!$C$5:$E$5</c:f>
              <c:numCache>
                <c:formatCode>0</c:formatCode>
                <c:ptCount val="3"/>
                <c:pt idx="0">
                  <c:v>3155.9729898273495</c:v>
                </c:pt>
                <c:pt idx="1">
                  <c:v>4706.5132968986754</c:v>
                </c:pt>
                <c:pt idx="2">
                  <c:v>3117.7306060264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5FA-43AF-82A9-626EEE582B28}"/>
            </c:ext>
          </c:extLst>
        </c:ser>
        <c:ser>
          <c:idx val="2"/>
          <c:order val="2"/>
          <c:tx>
            <c:strRef>
              <c:f>Check!$B$6</c:f>
              <c:strCache>
                <c:ptCount val="1"/>
                <c:pt idx="0">
                  <c:v>Coal</c:v>
                </c:pt>
              </c:strCache>
            </c:strRef>
          </c:tx>
          <c:spPr>
            <a:solidFill>
              <a:srgbClr val="666666"/>
            </a:solidFill>
            <a:ln w="9525">
              <a:solidFill>
                <a:schemeClr val="bg1">
                  <a:lumMod val="75000"/>
                </a:schemeClr>
              </a:solidFill>
            </a:ln>
          </c:spPr>
          <c:invertIfNegative val="0"/>
          <c:cat>
            <c:strRef>
              <c:f>Check!$C$3:$E$3</c:f>
              <c:strCache>
                <c:ptCount val="3"/>
                <c:pt idx="0">
                  <c:v>2017</c:v>
                </c:pt>
                <c:pt idx="1">
                  <c:v>ET</c:v>
                </c:pt>
                <c:pt idx="2">
                  <c:v>LC</c:v>
                </c:pt>
              </c:strCache>
            </c:strRef>
          </c:cat>
          <c:val>
            <c:numRef>
              <c:f>Check!$C$6:$E$6</c:f>
              <c:numCache>
                <c:formatCode>0</c:formatCode>
                <c:ptCount val="3"/>
                <c:pt idx="0">
                  <c:v>3731.4819856714098</c:v>
                </c:pt>
                <c:pt idx="1">
                  <c:v>3761.5955172625381</c:v>
                </c:pt>
                <c:pt idx="2">
                  <c:v>1597.1344432283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5FA-43AF-82A9-626EEE582B28}"/>
            </c:ext>
          </c:extLst>
        </c:ser>
        <c:ser>
          <c:idx val="3"/>
          <c:order val="3"/>
          <c:tx>
            <c:strRef>
              <c:f>Check!$B$7</c:f>
              <c:strCache>
                <c:ptCount val="1"/>
                <c:pt idx="0">
                  <c:v>Nuclear</c:v>
                </c:pt>
              </c:strCache>
            </c:strRef>
          </c:tx>
          <c:spPr>
            <a:solidFill>
              <a:srgbClr val="FFCC00"/>
            </a:solidFill>
            <a:ln w="9525">
              <a:solidFill>
                <a:schemeClr val="bg1">
                  <a:lumMod val="75000"/>
                </a:schemeClr>
              </a:solidFill>
            </a:ln>
          </c:spPr>
          <c:invertIfNegative val="0"/>
          <c:cat>
            <c:strRef>
              <c:f>Check!$C$3:$E$3</c:f>
              <c:strCache>
                <c:ptCount val="3"/>
                <c:pt idx="0">
                  <c:v>2017</c:v>
                </c:pt>
                <c:pt idx="1">
                  <c:v>ET</c:v>
                </c:pt>
                <c:pt idx="2">
                  <c:v>LC</c:v>
                </c:pt>
              </c:strCache>
            </c:strRef>
          </c:cat>
          <c:val>
            <c:numRef>
              <c:f>Check!$C$7:$E$7</c:f>
              <c:numCache>
                <c:formatCode>0</c:formatCode>
                <c:ptCount val="3"/>
                <c:pt idx="0">
                  <c:v>596.36174674123333</c:v>
                </c:pt>
                <c:pt idx="1">
                  <c:v>911.67290112165688</c:v>
                </c:pt>
                <c:pt idx="2">
                  <c:v>1252.32793017561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5FA-43AF-82A9-626EEE582B28}"/>
            </c:ext>
          </c:extLst>
        </c:ser>
        <c:ser>
          <c:idx val="4"/>
          <c:order val="4"/>
          <c:tx>
            <c:strRef>
              <c:f>Check!$B$8</c:f>
              <c:strCache>
                <c:ptCount val="1"/>
                <c:pt idx="0">
                  <c:v>Hydro</c:v>
                </c:pt>
              </c:strCache>
            </c:strRef>
          </c:tx>
          <c:spPr>
            <a:solidFill>
              <a:srgbClr val="009EE0"/>
            </a:solidFill>
            <a:ln w="9525">
              <a:solidFill>
                <a:schemeClr val="bg1">
                  <a:lumMod val="75000"/>
                </a:schemeClr>
              </a:solidFill>
            </a:ln>
          </c:spPr>
          <c:invertIfNegative val="0"/>
          <c:cat>
            <c:strRef>
              <c:f>Check!$C$3:$E$3</c:f>
              <c:strCache>
                <c:ptCount val="3"/>
                <c:pt idx="0">
                  <c:v>2017</c:v>
                </c:pt>
                <c:pt idx="1">
                  <c:v>ET</c:v>
                </c:pt>
                <c:pt idx="2">
                  <c:v>LC</c:v>
                </c:pt>
              </c:strCache>
            </c:strRef>
          </c:cat>
          <c:val>
            <c:numRef>
              <c:f>Check!$C$8:$E$8</c:f>
              <c:numCache>
                <c:formatCode>0</c:formatCode>
                <c:ptCount val="3"/>
                <c:pt idx="0">
                  <c:v>918.64696396260035</c:v>
                </c:pt>
                <c:pt idx="1">
                  <c:v>1241.105172413791</c:v>
                </c:pt>
                <c:pt idx="2">
                  <c:v>1315.26681325123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5FA-43AF-82A9-626EEE582B28}"/>
            </c:ext>
          </c:extLst>
        </c:ser>
        <c:ser>
          <c:idx val="5"/>
          <c:order val="5"/>
          <c:tx>
            <c:strRef>
              <c:f>Check!$B$9</c:f>
              <c:strCache>
                <c:ptCount val="1"/>
                <c:pt idx="0">
                  <c:v>Renew.</c:v>
                </c:pt>
              </c:strCache>
            </c:strRef>
          </c:tx>
          <c:spPr>
            <a:solidFill>
              <a:srgbClr val="FF6600"/>
            </a:solidFill>
            <a:ln w="9525">
              <a:solidFill>
                <a:schemeClr val="bg1">
                  <a:lumMod val="75000"/>
                </a:schemeClr>
              </a:solidFill>
            </a:ln>
          </c:spPr>
          <c:invertIfNegative val="0"/>
          <c:cat>
            <c:strRef>
              <c:f>Check!$C$3:$E$3</c:f>
              <c:strCache>
                <c:ptCount val="3"/>
                <c:pt idx="0">
                  <c:v>2017</c:v>
                </c:pt>
                <c:pt idx="1">
                  <c:v>ET</c:v>
                </c:pt>
                <c:pt idx="2">
                  <c:v>LC</c:v>
                </c:pt>
              </c:strCache>
            </c:strRef>
          </c:cat>
          <c:val>
            <c:numRef>
              <c:f>Check!$C$9:$E$9</c:f>
              <c:numCache>
                <c:formatCode>0</c:formatCode>
                <c:ptCount val="3"/>
                <c:pt idx="0">
                  <c:v>570.96027269891101</c:v>
                </c:pt>
                <c:pt idx="1">
                  <c:v>2526.9886520191121</c:v>
                </c:pt>
                <c:pt idx="2">
                  <c:v>5331.35590377221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5FA-43AF-82A9-626EEE582B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32685824"/>
        <c:axId val="132689280"/>
      </c:barChart>
      <c:catAx>
        <c:axId val="1326858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666666"/>
            </a:solidFill>
            <a:prstDash val="solid"/>
          </a:ln>
        </c:spPr>
        <c:txPr>
          <a:bodyPr rot="0" vert="horz"/>
          <a:lstStyle/>
          <a:p>
            <a:pPr algn="ctr">
              <a:defRPr lang="en-GB" sz="1300" b="0" i="0" u="none" strike="noStrike" kern="1200" baseline="0">
                <a:solidFill>
                  <a:schemeClr val="tx1"/>
                </a:solidFill>
                <a:latin typeface="Univers for BP Light" panose="020B0403020202020204" pitchFamily="34" charset="0"/>
                <a:ea typeface="Univers 55"/>
                <a:cs typeface="Univers 55"/>
              </a:defRPr>
            </a:pPr>
            <a:endParaRPr lang="en-US"/>
          </a:p>
        </c:txPr>
        <c:crossAx val="132689280"/>
        <c:crossesAt val="0"/>
        <c:auto val="1"/>
        <c:lblAlgn val="ctr"/>
        <c:lblOffset val="100"/>
        <c:noMultiLvlLbl val="1"/>
      </c:catAx>
      <c:valAx>
        <c:axId val="132689280"/>
        <c:scaling>
          <c:orientation val="minMax"/>
        </c:scaling>
        <c:delete val="0"/>
        <c:axPos val="l"/>
        <c:numFmt formatCode="General" sourceLinked="0"/>
        <c:majorTickMark val="in"/>
        <c:minorTickMark val="none"/>
        <c:tickLblPos val="nextTo"/>
        <c:spPr>
          <a:ln w="9525">
            <a:solidFill>
              <a:srgbClr val="666666"/>
            </a:solidFill>
            <a:prstDash val="solid"/>
          </a:ln>
        </c:spPr>
        <c:txPr>
          <a:bodyPr rot="0" vert="horz"/>
          <a:lstStyle/>
          <a:p>
            <a:pPr algn="ctr">
              <a:defRPr lang="en-GB" sz="1300" b="0" i="0" u="none" strike="noStrike" kern="1200" baseline="0">
                <a:solidFill>
                  <a:srgbClr val="000000"/>
                </a:solidFill>
                <a:latin typeface="Univers for BP Light" panose="020B0403020202020204" pitchFamily="34" charset="0"/>
                <a:ea typeface="Univers 55"/>
                <a:cs typeface="Univers 55"/>
              </a:defRPr>
            </a:pPr>
            <a:endParaRPr lang="en-US"/>
          </a:p>
        </c:txPr>
        <c:crossAx val="132685824"/>
        <c:crossesAt val="0"/>
        <c:crossBetween val="between"/>
        <c:majorUnit val="5000"/>
        <c:minorUnit val="400"/>
        <c:dispUnits>
          <c:builtInUnit val="thousands"/>
        </c:dispUnits>
      </c:valAx>
      <c:spPr>
        <a:noFill/>
        <a:ln w="25400">
          <a:noFill/>
        </a:ln>
      </c:spPr>
    </c:plotArea>
    <c:legend>
      <c:legendPos val="l"/>
      <c:layout>
        <c:manualLayout>
          <c:xMode val="edge"/>
          <c:yMode val="edge"/>
          <c:x val="0.74768150051715232"/>
          <c:y val="0.13509851903911124"/>
          <c:w val="0.23921454031779008"/>
          <c:h val="0.50666021317817289"/>
        </c:manualLayout>
      </c:layout>
      <c:overlay val="1"/>
      <c:txPr>
        <a:bodyPr/>
        <a:lstStyle/>
        <a:p>
          <a:pPr>
            <a:defRPr sz="1300">
              <a:latin typeface="Univers for BP" panose="020B0603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400" b="0" i="0" u="none" strike="noStrike" baseline="0">
          <a:solidFill>
            <a:schemeClr val="tx1"/>
          </a:solidFill>
          <a:latin typeface="Univers 55"/>
          <a:ea typeface="Univers 55"/>
          <a:cs typeface="Univers 55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0702444271649266E-2"/>
          <c:y val="4.0697905130651496E-2"/>
          <c:w val="0.81723627464926218"/>
          <c:h val="0.86136766866299153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C$1</c:f>
              <c:strCache>
                <c:ptCount val="1"/>
                <c:pt idx="0">
                  <c:v>Evolving Transition (ET)</c:v>
                </c:pt>
              </c:strCache>
            </c:strRef>
          </c:tx>
          <c:spPr>
            <a:ln w="28575" cap="rnd">
              <a:solidFill>
                <a:srgbClr val="000099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rgbClr val="000099"/>
              </a:solidFill>
              <a:ln w="9525">
                <a:noFill/>
              </a:ln>
              <a:effectLst/>
            </c:spPr>
          </c:marker>
          <c:dPt>
            <c:idx val="46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0-B38F-4735-B250-CD0FC99E8137}"/>
              </c:ext>
            </c:extLst>
          </c:dPt>
          <c:dPt>
            <c:idx val="47"/>
            <c:marker>
              <c:symbol val="circle"/>
              <c:size val="7"/>
              <c:spPr>
                <a:solidFill>
                  <a:srgbClr val="000099"/>
                </a:solidFill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1-B38F-4735-B250-CD0FC99E8137}"/>
              </c:ext>
            </c:extLst>
          </c:dPt>
          <c:dPt>
            <c:idx val="48"/>
            <c:marker>
              <c:symbol val="circle"/>
              <c:size val="7"/>
              <c:spPr>
                <a:solidFill>
                  <a:srgbClr val="000099"/>
                </a:solidFill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2-B38F-4735-B250-CD0FC99E8137}"/>
              </c:ext>
            </c:extLst>
          </c:dPt>
          <c:dPt>
            <c:idx val="49"/>
            <c:marker>
              <c:symbol val="circle"/>
              <c:size val="7"/>
              <c:spPr>
                <a:solidFill>
                  <a:srgbClr val="000099"/>
                </a:solidFill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B38F-4735-B250-CD0FC99E8137}"/>
              </c:ext>
            </c:extLst>
          </c:dPt>
          <c:dPt>
            <c:idx val="50"/>
            <c:marker>
              <c:symbol val="circle"/>
              <c:size val="7"/>
              <c:spPr>
                <a:solidFill>
                  <a:srgbClr val="000099"/>
                </a:solidFill>
                <a:ln w="2857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B38F-4735-B250-CD0FC99E8137}"/>
              </c:ext>
            </c:extLst>
          </c:dPt>
          <c:dPt>
            <c:idx val="51"/>
            <c:marker>
              <c:symbol val="circle"/>
              <c:size val="7"/>
              <c:spPr>
                <a:solidFill>
                  <a:srgbClr val="000099"/>
                </a:solidFill>
                <a:ln w="19050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B38F-4735-B250-CD0FC99E8137}"/>
              </c:ext>
            </c:extLst>
          </c:dPt>
          <c:xVal>
            <c:numRef>
              <c:f>Sheet1!$A$2:$A$53</c:f>
              <c:numCache>
                <c:formatCode>General</c:formatCode>
                <c:ptCount val="52"/>
                <c:pt idx="0">
                  <c:v>1970</c:v>
                </c:pt>
                <c:pt idx="1">
                  <c:v>1971</c:v>
                </c:pt>
                <c:pt idx="2">
                  <c:v>1972</c:v>
                </c:pt>
                <c:pt idx="3">
                  <c:v>1973</c:v>
                </c:pt>
                <c:pt idx="4">
                  <c:v>1974</c:v>
                </c:pt>
                <c:pt idx="5">
                  <c:v>1975</c:v>
                </c:pt>
                <c:pt idx="6">
                  <c:v>1976</c:v>
                </c:pt>
                <c:pt idx="7">
                  <c:v>1977</c:v>
                </c:pt>
                <c:pt idx="8">
                  <c:v>1978</c:v>
                </c:pt>
                <c:pt idx="9">
                  <c:v>1979</c:v>
                </c:pt>
                <c:pt idx="10">
                  <c:v>1980</c:v>
                </c:pt>
                <c:pt idx="11">
                  <c:v>1981</c:v>
                </c:pt>
                <c:pt idx="12">
                  <c:v>1982</c:v>
                </c:pt>
                <c:pt idx="13">
                  <c:v>1983</c:v>
                </c:pt>
                <c:pt idx="14">
                  <c:v>1984</c:v>
                </c:pt>
                <c:pt idx="15">
                  <c:v>1985</c:v>
                </c:pt>
                <c:pt idx="16">
                  <c:v>1986</c:v>
                </c:pt>
                <c:pt idx="17">
                  <c:v>1987</c:v>
                </c:pt>
                <c:pt idx="18">
                  <c:v>1988</c:v>
                </c:pt>
                <c:pt idx="19">
                  <c:v>1989</c:v>
                </c:pt>
                <c:pt idx="20">
                  <c:v>1990</c:v>
                </c:pt>
                <c:pt idx="21">
                  <c:v>1991</c:v>
                </c:pt>
                <c:pt idx="22">
                  <c:v>1992</c:v>
                </c:pt>
                <c:pt idx="23">
                  <c:v>1993</c:v>
                </c:pt>
                <c:pt idx="24">
                  <c:v>1994</c:v>
                </c:pt>
                <c:pt idx="25">
                  <c:v>1995</c:v>
                </c:pt>
                <c:pt idx="26">
                  <c:v>1996</c:v>
                </c:pt>
                <c:pt idx="27">
                  <c:v>1997</c:v>
                </c:pt>
                <c:pt idx="28">
                  <c:v>1998</c:v>
                </c:pt>
                <c:pt idx="29">
                  <c:v>1999</c:v>
                </c:pt>
                <c:pt idx="30">
                  <c:v>2000</c:v>
                </c:pt>
                <c:pt idx="31">
                  <c:v>2001</c:v>
                </c:pt>
                <c:pt idx="32">
                  <c:v>2002</c:v>
                </c:pt>
                <c:pt idx="33">
                  <c:v>2003</c:v>
                </c:pt>
                <c:pt idx="34">
                  <c:v>2004</c:v>
                </c:pt>
                <c:pt idx="35">
                  <c:v>2005</c:v>
                </c:pt>
                <c:pt idx="36">
                  <c:v>2006</c:v>
                </c:pt>
                <c:pt idx="37">
                  <c:v>2007</c:v>
                </c:pt>
                <c:pt idx="38">
                  <c:v>2008</c:v>
                </c:pt>
                <c:pt idx="39">
                  <c:v>2009</c:v>
                </c:pt>
                <c:pt idx="40">
                  <c:v>2010</c:v>
                </c:pt>
                <c:pt idx="41">
                  <c:v>2011</c:v>
                </c:pt>
                <c:pt idx="42">
                  <c:v>2012</c:v>
                </c:pt>
                <c:pt idx="43">
                  <c:v>2013</c:v>
                </c:pt>
                <c:pt idx="44">
                  <c:v>2014</c:v>
                </c:pt>
                <c:pt idx="45">
                  <c:v>2015</c:v>
                </c:pt>
                <c:pt idx="46">
                  <c:v>2016</c:v>
                </c:pt>
                <c:pt idx="47">
                  <c:v>2020</c:v>
                </c:pt>
                <c:pt idx="48">
                  <c:v>2025</c:v>
                </c:pt>
                <c:pt idx="49">
                  <c:v>2030</c:v>
                </c:pt>
                <c:pt idx="50">
                  <c:v>2035</c:v>
                </c:pt>
                <c:pt idx="51">
                  <c:v>2040</c:v>
                </c:pt>
              </c:numCache>
            </c:numRef>
          </c:xVal>
          <c:yVal>
            <c:numRef>
              <c:f>Sheet1!$C$2:$C$53</c:f>
              <c:numCache>
                <c:formatCode>General</c:formatCode>
                <c:ptCount val="52"/>
                <c:pt idx="46" formatCode="0">
                  <c:v>33430.939015968419</c:v>
                </c:pt>
                <c:pt idx="47" formatCode="0">
                  <c:v>34502.219796947727</c:v>
                </c:pt>
                <c:pt idx="48" formatCode="0">
                  <c:v>36031.434476732567</c:v>
                </c:pt>
                <c:pt idx="49" formatCode="0">
                  <c:v>36667.370935337844</c:v>
                </c:pt>
                <c:pt idx="50">
                  <c:v>36949.683569448018</c:v>
                </c:pt>
                <c:pt idx="51">
                  <c:v>36775.92052578175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6-B38F-4735-B250-CD0FC99E8137}"/>
            </c:ext>
          </c:extLst>
        </c:ser>
        <c:ser>
          <c:idx val="5"/>
          <c:order val="1"/>
          <c:tx>
            <c:strRef>
              <c:f>Sheet1!$H$1</c:f>
              <c:strCache>
                <c:ptCount val="1"/>
                <c:pt idx="0">
                  <c:v>Low carbon (LC)</c:v>
                </c:pt>
              </c:strCache>
            </c:strRef>
          </c:tx>
          <c:spPr>
            <a:ln w="28575" cap="rnd">
              <a:solidFill>
                <a:srgbClr val="FF6600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rgbClr val="FF6600"/>
              </a:solidFill>
              <a:ln w="9525">
                <a:noFill/>
              </a:ln>
              <a:effectLst/>
            </c:spPr>
          </c:marker>
          <c:dPt>
            <c:idx val="46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7-B38F-4735-B250-CD0FC99E8137}"/>
              </c:ext>
            </c:extLst>
          </c:dPt>
          <c:dPt>
            <c:idx val="47"/>
            <c:marker>
              <c:symbol val="circle"/>
              <c:size val="7"/>
              <c:spPr>
                <a:solidFill>
                  <a:srgbClr val="FF6600"/>
                </a:solidFill>
                <a:ln w="19050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B38F-4735-B250-CD0FC99E8137}"/>
              </c:ext>
            </c:extLst>
          </c:dPt>
          <c:dPt>
            <c:idx val="48"/>
            <c:marker>
              <c:symbol val="circle"/>
              <c:size val="7"/>
              <c:spPr>
                <a:solidFill>
                  <a:srgbClr val="FF6600"/>
                </a:solidFill>
                <a:ln w="19050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B38F-4735-B250-CD0FC99E8137}"/>
              </c:ext>
            </c:extLst>
          </c:dPt>
          <c:dPt>
            <c:idx val="49"/>
            <c:marker>
              <c:symbol val="circle"/>
              <c:size val="7"/>
              <c:spPr>
                <a:solidFill>
                  <a:srgbClr val="FF6600"/>
                </a:solidFill>
                <a:ln w="19050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B38F-4735-B250-CD0FC99E8137}"/>
              </c:ext>
            </c:extLst>
          </c:dPt>
          <c:dPt>
            <c:idx val="50"/>
            <c:marker>
              <c:symbol val="circle"/>
              <c:size val="7"/>
              <c:spPr>
                <a:solidFill>
                  <a:srgbClr val="FF6600"/>
                </a:solidFill>
                <a:ln w="19050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B38F-4735-B250-CD0FC99E8137}"/>
              </c:ext>
            </c:extLst>
          </c:dPt>
          <c:dPt>
            <c:idx val="51"/>
            <c:marker>
              <c:symbol val="circle"/>
              <c:size val="7"/>
              <c:spPr>
                <a:solidFill>
                  <a:srgbClr val="FF6600"/>
                </a:solidFill>
                <a:ln w="19050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B38F-4735-B250-CD0FC99E8137}"/>
              </c:ext>
            </c:extLst>
          </c:dPt>
          <c:xVal>
            <c:numRef>
              <c:f>Sheet1!$A$2:$A$53</c:f>
              <c:numCache>
                <c:formatCode>General</c:formatCode>
                <c:ptCount val="52"/>
                <c:pt idx="0">
                  <c:v>1970</c:v>
                </c:pt>
                <c:pt idx="1">
                  <c:v>1971</c:v>
                </c:pt>
                <c:pt idx="2">
                  <c:v>1972</c:v>
                </c:pt>
                <c:pt idx="3">
                  <c:v>1973</c:v>
                </c:pt>
                <c:pt idx="4">
                  <c:v>1974</c:v>
                </c:pt>
                <c:pt idx="5">
                  <c:v>1975</c:v>
                </c:pt>
                <c:pt idx="6">
                  <c:v>1976</c:v>
                </c:pt>
                <c:pt idx="7">
                  <c:v>1977</c:v>
                </c:pt>
                <c:pt idx="8">
                  <c:v>1978</c:v>
                </c:pt>
                <c:pt idx="9">
                  <c:v>1979</c:v>
                </c:pt>
                <c:pt idx="10">
                  <c:v>1980</c:v>
                </c:pt>
                <c:pt idx="11">
                  <c:v>1981</c:v>
                </c:pt>
                <c:pt idx="12">
                  <c:v>1982</c:v>
                </c:pt>
                <c:pt idx="13">
                  <c:v>1983</c:v>
                </c:pt>
                <c:pt idx="14">
                  <c:v>1984</c:v>
                </c:pt>
                <c:pt idx="15">
                  <c:v>1985</c:v>
                </c:pt>
                <c:pt idx="16">
                  <c:v>1986</c:v>
                </c:pt>
                <c:pt idx="17">
                  <c:v>1987</c:v>
                </c:pt>
                <c:pt idx="18">
                  <c:v>1988</c:v>
                </c:pt>
                <c:pt idx="19">
                  <c:v>1989</c:v>
                </c:pt>
                <c:pt idx="20">
                  <c:v>1990</c:v>
                </c:pt>
                <c:pt idx="21">
                  <c:v>1991</c:v>
                </c:pt>
                <c:pt idx="22">
                  <c:v>1992</c:v>
                </c:pt>
                <c:pt idx="23">
                  <c:v>1993</c:v>
                </c:pt>
                <c:pt idx="24">
                  <c:v>1994</c:v>
                </c:pt>
                <c:pt idx="25">
                  <c:v>1995</c:v>
                </c:pt>
                <c:pt idx="26">
                  <c:v>1996</c:v>
                </c:pt>
                <c:pt idx="27">
                  <c:v>1997</c:v>
                </c:pt>
                <c:pt idx="28">
                  <c:v>1998</c:v>
                </c:pt>
                <c:pt idx="29">
                  <c:v>1999</c:v>
                </c:pt>
                <c:pt idx="30">
                  <c:v>2000</c:v>
                </c:pt>
                <c:pt idx="31">
                  <c:v>2001</c:v>
                </c:pt>
                <c:pt idx="32">
                  <c:v>2002</c:v>
                </c:pt>
                <c:pt idx="33">
                  <c:v>2003</c:v>
                </c:pt>
                <c:pt idx="34">
                  <c:v>2004</c:v>
                </c:pt>
                <c:pt idx="35">
                  <c:v>2005</c:v>
                </c:pt>
                <c:pt idx="36">
                  <c:v>2006</c:v>
                </c:pt>
                <c:pt idx="37">
                  <c:v>2007</c:v>
                </c:pt>
                <c:pt idx="38">
                  <c:v>2008</c:v>
                </c:pt>
                <c:pt idx="39">
                  <c:v>2009</c:v>
                </c:pt>
                <c:pt idx="40">
                  <c:v>2010</c:v>
                </c:pt>
                <c:pt idx="41">
                  <c:v>2011</c:v>
                </c:pt>
                <c:pt idx="42">
                  <c:v>2012</c:v>
                </c:pt>
                <c:pt idx="43">
                  <c:v>2013</c:v>
                </c:pt>
                <c:pt idx="44">
                  <c:v>2014</c:v>
                </c:pt>
                <c:pt idx="45">
                  <c:v>2015</c:v>
                </c:pt>
                <c:pt idx="46">
                  <c:v>2016</c:v>
                </c:pt>
                <c:pt idx="47">
                  <c:v>2020</c:v>
                </c:pt>
                <c:pt idx="48">
                  <c:v>2025</c:v>
                </c:pt>
                <c:pt idx="49">
                  <c:v>2030</c:v>
                </c:pt>
                <c:pt idx="50">
                  <c:v>2035</c:v>
                </c:pt>
                <c:pt idx="51">
                  <c:v>2040</c:v>
                </c:pt>
              </c:numCache>
            </c:numRef>
          </c:xVal>
          <c:yVal>
            <c:numRef>
              <c:f>Sheet1!$H$2:$H$53</c:f>
              <c:numCache>
                <c:formatCode>General</c:formatCode>
                <c:ptCount val="52"/>
                <c:pt idx="46" formatCode="0">
                  <c:v>33430.939015968419</c:v>
                </c:pt>
                <c:pt idx="47" formatCode="0">
                  <c:v>32022.852265258603</c:v>
                </c:pt>
                <c:pt idx="48" formatCode="0">
                  <c:v>29441.285245401905</c:v>
                </c:pt>
                <c:pt idx="49" formatCode="0">
                  <c:v>26300.578347860635</c:v>
                </c:pt>
                <c:pt idx="50">
                  <c:v>22073.203323143221</c:v>
                </c:pt>
                <c:pt idx="51">
                  <c:v>17629.74200536896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D-B38F-4735-B250-CD0FC99E8137}"/>
            </c:ext>
          </c:extLst>
        </c:ser>
        <c:ser>
          <c:idx val="6"/>
          <c:order val="2"/>
          <c:tx>
            <c:strRef>
              <c:f>Sheet1!$B$1</c:f>
              <c:strCache>
                <c:ptCount val="1"/>
                <c:pt idx="0">
                  <c:v>History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dPt>
            <c:idx val="46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E-B38F-4735-B250-CD0FC99E8137}"/>
              </c:ext>
            </c:extLst>
          </c:dPt>
          <c:xVal>
            <c:numRef>
              <c:f>Sheet1!$A$2:$A$53</c:f>
              <c:numCache>
                <c:formatCode>General</c:formatCode>
                <c:ptCount val="52"/>
                <c:pt idx="0">
                  <c:v>1970</c:v>
                </c:pt>
                <c:pt idx="1">
                  <c:v>1971</c:v>
                </c:pt>
                <c:pt idx="2">
                  <c:v>1972</c:v>
                </c:pt>
                <c:pt idx="3">
                  <c:v>1973</c:v>
                </c:pt>
                <c:pt idx="4">
                  <c:v>1974</c:v>
                </c:pt>
                <c:pt idx="5">
                  <c:v>1975</c:v>
                </c:pt>
                <c:pt idx="6">
                  <c:v>1976</c:v>
                </c:pt>
                <c:pt idx="7">
                  <c:v>1977</c:v>
                </c:pt>
                <c:pt idx="8">
                  <c:v>1978</c:v>
                </c:pt>
                <c:pt idx="9">
                  <c:v>1979</c:v>
                </c:pt>
                <c:pt idx="10">
                  <c:v>1980</c:v>
                </c:pt>
                <c:pt idx="11">
                  <c:v>1981</c:v>
                </c:pt>
                <c:pt idx="12">
                  <c:v>1982</c:v>
                </c:pt>
                <c:pt idx="13">
                  <c:v>1983</c:v>
                </c:pt>
                <c:pt idx="14">
                  <c:v>1984</c:v>
                </c:pt>
                <c:pt idx="15">
                  <c:v>1985</c:v>
                </c:pt>
                <c:pt idx="16">
                  <c:v>1986</c:v>
                </c:pt>
                <c:pt idx="17">
                  <c:v>1987</c:v>
                </c:pt>
                <c:pt idx="18">
                  <c:v>1988</c:v>
                </c:pt>
                <c:pt idx="19">
                  <c:v>1989</c:v>
                </c:pt>
                <c:pt idx="20">
                  <c:v>1990</c:v>
                </c:pt>
                <c:pt idx="21">
                  <c:v>1991</c:v>
                </c:pt>
                <c:pt idx="22">
                  <c:v>1992</c:v>
                </c:pt>
                <c:pt idx="23">
                  <c:v>1993</c:v>
                </c:pt>
                <c:pt idx="24">
                  <c:v>1994</c:v>
                </c:pt>
                <c:pt idx="25">
                  <c:v>1995</c:v>
                </c:pt>
                <c:pt idx="26">
                  <c:v>1996</c:v>
                </c:pt>
                <c:pt idx="27">
                  <c:v>1997</c:v>
                </c:pt>
                <c:pt idx="28">
                  <c:v>1998</c:v>
                </c:pt>
                <c:pt idx="29">
                  <c:v>1999</c:v>
                </c:pt>
                <c:pt idx="30">
                  <c:v>2000</c:v>
                </c:pt>
                <c:pt idx="31">
                  <c:v>2001</c:v>
                </c:pt>
                <c:pt idx="32">
                  <c:v>2002</c:v>
                </c:pt>
                <c:pt idx="33">
                  <c:v>2003</c:v>
                </c:pt>
                <c:pt idx="34">
                  <c:v>2004</c:v>
                </c:pt>
                <c:pt idx="35">
                  <c:v>2005</c:v>
                </c:pt>
                <c:pt idx="36">
                  <c:v>2006</c:v>
                </c:pt>
                <c:pt idx="37">
                  <c:v>2007</c:v>
                </c:pt>
                <c:pt idx="38">
                  <c:v>2008</c:v>
                </c:pt>
                <c:pt idx="39">
                  <c:v>2009</c:v>
                </c:pt>
                <c:pt idx="40">
                  <c:v>2010</c:v>
                </c:pt>
                <c:pt idx="41">
                  <c:v>2011</c:v>
                </c:pt>
                <c:pt idx="42">
                  <c:v>2012</c:v>
                </c:pt>
                <c:pt idx="43">
                  <c:v>2013</c:v>
                </c:pt>
                <c:pt idx="44">
                  <c:v>2014</c:v>
                </c:pt>
                <c:pt idx="45">
                  <c:v>2015</c:v>
                </c:pt>
                <c:pt idx="46">
                  <c:v>2016</c:v>
                </c:pt>
                <c:pt idx="47">
                  <c:v>2020</c:v>
                </c:pt>
                <c:pt idx="48">
                  <c:v>2025</c:v>
                </c:pt>
                <c:pt idx="49">
                  <c:v>2030</c:v>
                </c:pt>
                <c:pt idx="50">
                  <c:v>2035</c:v>
                </c:pt>
                <c:pt idx="51">
                  <c:v>2040</c:v>
                </c:pt>
              </c:numCache>
            </c:numRef>
          </c:xVal>
          <c:yVal>
            <c:numRef>
              <c:f>Sheet1!$B$2:$B$53</c:f>
              <c:numCache>
                <c:formatCode>General</c:formatCode>
                <c:ptCount val="52"/>
                <c:pt idx="0">
                  <c:v>14481.99226151</c:v>
                </c:pt>
                <c:pt idx="1">
                  <c:v>14978.385490730001</c:v>
                </c:pt>
                <c:pt idx="2">
                  <c:v>15685.482786909999</c:v>
                </c:pt>
                <c:pt idx="3">
                  <c:v>16537.97062901</c:v>
                </c:pt>
                <c:pt idx="4">
                  <c:v>16445.592691669997</c:v>
                </c:pt>
                <c:pt idx="5">
                  <c:v>16459.585439980001</c:v>
                </c:pt>
                <c:pt idx="6">
                  <c:v>17347.432461429999</c:v>
                </c:pt>
                <c:pt idx="7">
                  <c:v>17894.510618159999</c:v>
                </c:pt>
                <c:pt idx="8">
                  <c:v>18182.15251561</c:v>
                </c:pt>
                <c:pt idx="9">
                  <c:v>18774.557338430001</c:v>
                </c:pt>
                <c:pt idx="10">
                  <c:v>18613.4075882</c:v>
                </c:pt>
                <c:pt idx="11">
                  <c:v>18378.566269800001</c:v>
                </c:pt>
                <c:pt idx="12">
                  <c:v>18193.178157099999</c:v>
                </c:pt>
                <c:pt idx="13">
                  <c:v>18356.355206299999</c:v>
                </c:pt>
                <c:pt idx="14">
                  <c:v>19043.286905000001</c:v>
                </c:pt>
                <c:pt idx="15">
                  <c:v>19475.045451899998</c:v>
                </c:pt>
                <c:pt idx="16">
                  <c:v>19808.763922100003</c:v>
                </c:pt>
                <c:pt idx="17">
                  <c:v>20420.662178199997</c:v>
                </c:pt>
                <c:pt idx="18">
                  <c:v>21103.302027400001</c:v>
                </c:pt>
                <c:pt idx="19">
                  <c:v>21512.315810100001</c:v>
                </c:pt>
                <c:pt idx="20">
                  <c:v>21598.222592900001</c:v>
                </c:pt>
                <c:pt idx="21">
                  <c:v>21609.079699099995</c:v>
                </c:pt>
                <c:pt idx="22">
                  <c:v>21685.576937800004</c:v>
                </c:pt>
                <c:pt idx="23">
                  <c:v>21718.889776999997</c:v>
                </c:pt>
                <c:pt idx="24">
                  <c:v>21961.3588691</c:v>
                </c:pt>
                <c:pt idx="25">
                  <c:v>22220.211350400001</c:v>
                </c:pt>
                <c:pt idx="26">
                  <c:v>22849.546730499998</c:v>
                </c:pt>
                <c:pt idx="27">
                  <c:v>23055.931546999996</c:v>
                </c:pt>
                <c:pt idx="28">
                  <c:v>23130.264635999993</c:v>
                </c:pt>
                <c:pt idx="29">
                  <c:v>23460.830858999998</c:v>
                </c:pt>
                <c:pt idx="30">
                  <c:v>24003.372398</c:v>
                </c:pt>
                <c:pt idx="31">
                  <c:v>24340.423352999998</c:v>
                </c:pt>
                <c:pt idx="32">
                  <c:v>24880.466564999999</c:v>
                </c:pt>
                <c:pt idx="33">
                  <c:v>26115.118173000003</c:v>
                </c:pt>
                <c:pt idx="34">
                  <c:v>27436.590644000004</c:v>
                </c:pt>
                <c:pt idx="35">
                  <c:v>28549.805552999998</c:v>
                </c:pt>
                <c:pt idx="36">
                  <c:v>29430.087244000002</c:v>
                </c:pt>
                <c:pt idx="37">
                  <c:v>30481.874179999999</c:v>
                </c:pt>
                <c:pt idx="38">
                  <c:v>30800.378884000005</c:v>
                </c:pt>
                <c:pt idx="39">
                  <c:v>30145.294150000002</c:v>
                </c:pt>
                <c:pt idx="40">
                  <c:v>31528.396478999999</c:v>
                </c:pt>
                <c:pt idx="41">
                  <c:v>32413.035040999999</c:v>
                </c:pt>
                <c:pt idx="42">
                  <c:v>32740.195563000001</c:v>
                </c:pt>
                <c:pt idx="43">
                  <c:v>33226.122642999995</c:v>
                </c:pt>
                <c:pt idx="44">
                  <c:v>33342.542867000004</c:v>
                </c:pt>
                <c:pt idx="45">
                  <c:v>33302.822420968419</c:v>
                </c:pt>
                <c:pt idx="46" formatCode="0">
                  <c:v>33430.93901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F-B38F-4735-B250-CD0FC99E81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05616768"/>
        <c:axId val="705615456"/>
      </c:scatterChart>
      <c:valAx>
        <c:axId val="705616768"/>
        <c:scaling>
          <c:orientation val="minMax"/>
          <c:max val="2040"/>
          <c:min val="1970"/>
        </c:scaling>
        <c:delete val="0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66666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1"/>
                </a:solidFill>
                <a:latin typeface="Univers for BP Light" panose="020B0403020202020204" pitchFamily="34" charset="0"/>
                <a:ea typeface="+mn-ea"/>
                <a:cs typeface="+mn-cs"/>
              </a:defRPr>
            </a:pPr>
            <a:endParaRPr lang="en-US"/>
          </a:p>
        </c:txPr>
        <c:crossAx val="705615456"/>
        <c:crosses val="autoZero"/>
        <c:crossBetween val="midCat"/>
        <c:majorUnit val="10"/>
      </c:valAx>
      <c:valAx>
        <c:axId val="705615456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in"/>
        <c:minorTickMark val="none"/>
        <c:tickLblPos val="nextTo"/>
        <c:spPr>
          <a:noFill/>
          <a:ln w="9525" cap="flat" cmpd="sng" algn="ctr">
            <a:solidFill>
              <a:srgbClr val="66666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1"/>
                </a:solidFill>
                <a:latin typeface="Univers for BP Light" panose="020B0403020202020204" pitchFamily="34" charset="0"/>
                <a:ea typeface="+mn-ea"/>
                <a:cs typeface="+mn-cs"/>
              </a:defRPr>
            </a:pPr>
            <a:endParaRPr lang="en-US"/>
          </a:p>
        </c:txPr>
        <c:crossAx val="705616768"/>
        <c:crosses val="autoZero"/>
        <c:crossBetween val="midCat"/>
        <c:dispUnits>
          <c:builtInUnit val="thousands"/>
        </c:dispUnits>
      </c:valAx>
      <c:spPr>
        <a:noFill/>
        <a:ln>
          <a:noFill/>
        </a:ln>
        <a:effectLst/>
      </c:spPr>
    </c:plotArea>
    <c:legend>
      <c:legendPos val="r"/>
      <c:legendEntry>
        <c:idx val="2"/>
        <c:delete val="1"/>
      </c:legendEntry>
      <c:layout>
        <c:manualLayout>
          <c:xMode val="edge"/>
          <c:yMode val="edge"/>
          <c:x val="9.7211965174972048E-2"/>
          <c:y val="0.54662276760709816"/>
          <c:w val="0.51692835123141034"/>
          <c:h val="0.33643860600502684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00" b="0" i="0" u="none" strike="noStrike" kern="1200" baseline="0">
              <a:solidFill>
                <a:schemeClr val="tx1"/>
              </a:solidFill>
              <a:latin typeface="Univers for BP" panose="020B0603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50">
          <a:latin typeface="Univers for BP Light" panose="020B0403020202020204" pitchFamily="34" charset="0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31068557274502"/>
          <c:y val="6.0254050598115637E-2"/>
          <c:w val="0.83481627448099249"/>
          <c:h val="0.85026922710684105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HDI</c:v>
                </c:pt>
              </c:strCache>
            </c:strRef>
          </c:tx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006600"/>
              </a:solidFill>
              <a:ln w="9525">
                <a:solidFill>
                  <a:srgbClr val="006600"/>
                </a:solidFill>
              </a:ln>
              <a:effectLst/>
            </c:spPr>
          </c:marker>
          <c:trendline>
            <c:spPr>
              <a:ln w="25400" cap="rnd">
                <a:solidFill>
                  <a:schemeClr val="tx1"/>
                </a:solidFill>
                <a:prstDash val="solid"/>
              </a:ln>
              <a:effectLst/>
            </c:spPr>
            <c:trendlineType val="log"/>
            <c:dispRSqr val="0"/>
            <c:dispEq val="0"/>
          </c:trendline>
          <c:xVal>
            <c:numRef>
              <c:f>Sheet1!$A$2:$A$177</c:f>
              <c:numCache>
                <c:formatCode>#,##0</c:formatCode>
                <c:ptCount val="176"/>
                <c:pt idx="0">
                  <c:v>6.8880257542867058</c:v>
                </c:pt>
                <c:pt idx="1">
                  <c:v>88.110276476785998</c:v>
                </c:pt>
                <c:pt idx="2">
                  <c:v>38.680461130906316</c:v>
                </c:pt>
                <c:pt idx="3">
                  <c:v>53.094326177408391</c:v>
                </c:pt>
                <c:pt idx="4">
                  <c:v>22.664105628863773</c:v>
                </c:pt>
                <c:pt idx="5">
                  <c:v>14.430226711031647</c:v>
                </c:pt>
                <c:pt idx="6">
                  <c:v>8.1162565593905693</c:v>
                </c:pt>
                <c:pt idx="7">
                  <c:v>6.3815915088843855</c:v>
                </c:pt>
                <c:pt idx="8">
                  <c:v>35.433018984011113</c:v>
                </c:pt>
                <c:pt idx="9">
                  <c:v>9.649911016754853</c:v>
                </c:pt>
                <c:pt idx="10">
                  <c:v>4.2958251992399816</c:v>
                </c:pt>
                <c:pt idx="11">
                  <c:v>2.795720651065341</c:v>
                </c:pt>
                <c:pt idx="12">
                  <c:v>7.7950547428664452</c:v>
                </c:pt>
                <c:pt idx="13">
                  <c:v>6.2244196372096701</c:v>
                </c:pt>
                <c:pt idx="14">
                  <c:v>1.5493319787599229</c:v>
                </c:pt>
                <c:pt idx="15">
                  <c:v>10.616365221397883</c:v>
                </c:pt>
                <c:pt idx="16">
                  <c:v>2.2868459751460715</c:v>
                </c:pt>
                <c:pt idx="17">
                  <c:v>106.79833932640165</c:v>
                </c:pt>
                <c:pt idx="18">
                  <c:v>35.061566217734729</c:v>
                </c:pt>
                <c:pt idx="19">
                  <c:v>42.906884763249472</c:v>
                </c:pt>
                <c:pt idx="20">
                  <c:v>7.5260345422307422</c:v>
                </c:pt>
                <c:pt idx="21">
                  <c:v>13.311508054134185</c:v>
                </c:pt>
                <c:pt idx="22">
                  <c:v>27.099697464869255</c:v>
                </c:pt>
                <c:pt idx="23">
                  <c:v>6.8493718604068787</c:v>
                </c:pt>
                <c:pt idx="24">
                  <c:v>0.32928942509191528</c:v>
                </c:pt>
                <c:pt idx="25">
                  <c:v>10.434133557622893</c:v>
                </c:pt>
                <c:pt idx="26">
                  <c:v>58.131361140457919</c:v>
                </c:pt>
                <c:pt idx="27">
                  <c:v>2.3218159764711159</c:v>
                </c:pt>
                <c:pt idx="28">
                  <c:v>66.695952485309036</c:v>
                </c:pt>
                <c:pt idx="29">
                  <c:v>2.8334587600368653</c:v>
                </c:pt>
                <c:pt idx="30">
                  <c:v>2.1866249866557155</c:v>
                </c:pt>
                <c:pt idx="31">
                  <c:v>9.3931515549411024</c:v>
                </c:pt>
                <c:pt idx="32">
                  <c:v>1.7408686687843953</c:v>
                </c:pt>
                <c:pt idx="33">
                  <c:v>0.74681993308359773</c:v>
                </c:pt>
                <c:pt idx="34">
                  <c:v>1.7921121261320492</c:v>
                </c:pt>
                <c:pt idx="35">
                  <c:v>8.767082564700182</c:v>
                </c:pt>
                <c:pt idx="36">
                  <c:v>3.8928904840988654</c:v>
                </c:pt>
                <c:pt idx="37">
                  <c:v>4.3218312711857099</c:v>
                </c:pt>
                <c:pt idx="38">
                  <c:v>11.273666007163206</c:v>
                </c:pt>
                <c:pt idx="39">
                  <c:v>2.013192283837117</c:v>
                </c:pt>
                <c:pt idx="40">
                  <c:v>1.7372670006636444</c:v>
                </c:pt>
                <c:pt idx="41">
                  <c:v>14.179520023633096</c:v>
                </c:pt>
                <c:pt idx="42">
                  <c:v>0.46331684052602196</c:v>
                </c:pt>
                <c:pt idx="43">
                  <c:v>36.65766605022803</c:v>
                </c:pt>
                <c:pt idx="44">
                  <c:v>20.327447559468158</c:v>
                </c:pt>
                <c:pt idx="45">
                  <c:v>1.2732869469642116</c:v>
                </c:pt>
                <c:pt idx="46">
                  <c:v>191.33765572490285</c:v>
                </c:pt>
                <c:pt idx="47">
                  <c:v>3.5338217022964371</c:v>
                </c:pt>
                <c:pt idx="48">
                  <c:v>3.3427219748296748</c:v>
                </c:pt>
                <c:pt idx="49">
                  <c:v>3.5582449962651115</c:v>
                </c:pt>
                <c:pt idx="50">
                  <c:v>13.684596844798305</c:v>
                </c:pt>
                <c:pt idx="51">
                  <c:v>395.28364905642485</c:v>
                </c:pt>
                <c:pt idx="52">
                  <c:v>60.661969875725411</c:v>
                </c:pt>
                <c:pt idx="53">
                  <c:v>170.66167579131275</c:v>
                </c:pt>
                <c:pt idx="54">
                  <c:v>152.76129373420702</c:v>
                </c:pt>
                <c:pt idx="55">
                  <c:v>120.37750739156596</c:v>
                </c:pt>
                <c:pt idx="56">
                  <c:v>110.19956925544574</c:v>
                </c:pt>
                <c:pt idx="57">
                  <c:v>125.15065133880798</c:v>
                </c:pt>
                <c:pt idx="58">
                  <c:v>211.02761671617515</c:v>
                </c:pt>
                <c:pt idx="59">
                  <c:v>112.30162209698715</c:v>
                </c:pt>
                <c:pt idx="60">
                  <c:v>228.41324939771195</c:v>
                </c:pt>
                <c:pt idx="61">
                  <c:v>226.99866974316697</c:v>
                </c:pt>
                <c:pt idx="62">
                  <c:v>172.1744617192075</c:v>
                </c:pt>
                <c:pt idx="63">
                  <c:v>126.02211416940207</c:v>
                </c:pt>
                <c:pt idx="64">
                  <c:v>136.11805575728047</c:v>
                </c:pt>
                <c:pt idx="65">
                  <c:v>208.27115006553555</c:v>
                </c:pt>
                <c:pt idx="66">
                  <c:v>103.79930930322942</c:v>
                </c:pt>
                <c:pt idx="67">
                  <c:v>107.20372557558068</c:v>
                </c:pt>
                <c:pt idx="68">
                  <c:v>164.08542196874214</c:v>
                </c:pt>
                <c:pt idx="69">
                  <c:v>72.512535089299902</c:v>
                </c:pt>
                <c:pt idx="70">
                  <c:v>100.26292768982522</c:v>
                </c:pt>
                <c:pt idx="71">
                  <c:v>124.84754291861807</c:v>
                </c:pt>
                <c:pt idx="72">
                  <c:v>263.82733742424477</c:v>
                </c:pt>
                <c:pt idx="73">
                  <c:v>75.715146030338374</c:v>
                </c:pt>
                <c:pt idx="74">
                  <c:v>112.11718353117683</c:v>
                </c:pt>
                <c:pt idx="75">
                  <c:v>138.97977270310088</c:v>
                </c:pt>
                <c:pt idx="76">
                  <c:v>90.864596455678793</c:v>
                </c:pt>
                <c:pt idx="77">
                  <c:v>83.429425305734995</c:v>
                </c:pt>
                <c:pt idx="78">
                  <c:v>218.26396390267587</c:v>
                </c:pt>
                <c:pt idx="79">
                  <c:v>97.310703230865272</c:v>
                </c:pt>
                <c:pt idx="80">
                  <c:v>299.61459029616714</c:v>
                </c:pt>
                <c:pt idx="81">
                  <c:v>286.60406805293024</c:v>
                </c:pt>
                <c:pt idx="82">
                  <c:v>92.776946381602798</c:v>
                </c:pt>
                <c:pt idx="83">
                  <c:v>153.80816565464715</c:v>
                </c:pt>
                <c:pt idx="84">
                  <c:v>102.80371942705108</c:v>
                </c:pt>
                <c:pt idx="85">
                  <c:v>58.914242997634616</c:v>
                </c:pt>
                <c:pt idx="86">
                  <c:v>55.726526390219227</c:v>
                </c:pt>
                <c:pt idx="87">
                  <c:v>227.26946237179692</c:v>
                </c:pt>
                <c:pt idx="88">
                  <c:v>60.274777387161301</c:v>
                </c:pt>
                <c:pt idx="89">
                  <c:v>46.312547718391031</c:v>
                </c:pt>
                <c:pt idx="90">
                  <c:v>27.704210165276997</c:v>
                </c:pt>
                <c:pt idx="91">
                  <c:v>34.440937638692752</c:v>
                </c:pt>
                <c:pt idx="92">
                  <c:v>41.026740106021443</c:v>
                </c:pt>
                <c:pt idx="93">
                  <c:v>203.26034551142325</c:v>
                </c:pt>
                <c:pt idx="94">
                  <c:v>23.321019283746427</c:v>
                </c:pt>
                <c:pt idx="95">
                  <c:v>80.53086300285598</c:v>
                </c:pt>
                <c:pt idx="96">
                  <c:v>36.129008943779745</c:v>
                </c:pt>
                <c:pt idx="97">
                  <c:v>96.026410952395395</c:v>
                </c:pt>
                <c:pt idx="98">
                  <c:v>88.235099820618075</c:v>
                </c:pt>
                <c:pt idx="99">
                  <c:v>33.335571493784848</c:v>
                </c:pt>
                <c:pt idx="100">
                  <c:v>40.960551280483479</c:v>
                </c:pt>
                <c:pt idx="101">
                  <c:v>31.318647929061139</c:v>
                </c:pt>
                <c:pt idx="102">
                  <c:v>38.151249087239762</c:v>
                </c:pt>
                <c:pt idx="103">
                  <c:v>18.746110897613846</c:v>
                </c:pt>
                <c:pt idx="104">
                  <c:v>63.564474178973235</c:v>
                </c:pt>
                <c:pt idx="105">
                  <c:v>45.041968880422935</c:v>
                </c:pt>
                <c:pt idx="106">
                  <c:v>93.185010163539118</c:v>
                </c:pt>
                <c:pt idx="107">
                  <c:v>28.086295368272825</c:v>
                </c:pt>
                <c:pt idx="108">
                  <c:v>96.20530923321185</c:v>
                </c:pt>
                <c:pt idx="109">
                  <c:v>21.615042806923611</c:v>
                </c:pt>
                <c:pt idx="110">
                  <c:v>19.461597415964796</c:v>
                </c:pt>
                <c:pt idx="111">
                  <c:v>44.451989024126085</c:v>
                </c:pt>
                <c:pt idx="112">
                  <c:v>15.318967790831833</c:v>
                </c:pt>
                <c:pt idx="113">
                  <c:v>149.00537552594182</c:v>
                </c:pt>
                <c:pt idx="114">
                  <c:v>4.1849854229137735</c:v>
                </c:pt>
                <c:pt idx="115">
                  <c:v>54.972992377490073</c:v>
                </c:pt>
                <c:pt idx="116">
                  <c:v>86.731652346022486</c:v>
                </c:pt>
                <c:pt idx="117">
                  <c:v>39.911771962398959</c:v>
                </c:pt>
                <c:pt idx="118">
                  <c:v>26.719640475272257</c:v>
                </c:pt>
                <c:pt idx="119">
                  <c:v>35.86903959114666</c:v>
                </c:pt>
                <c:pt idx="120">
                  <c:v>133.83031804527678</c:v>
                </c:pt>
                <c:pt idx="121">
                  <c:v>47.694450929660924</c:v>
                </c:pt>
                <c:pt idx="122">
                  <c:v>75.649186600149378</c:v>
                </c:pt>
                <c:pt idx="123">
                  <c:v>30.491503881961112</c:v>
                </c:pt>
                <c:pt idx="124">
                  <c:v>39.255102345205231</c:v>
                </c:pt>
                <c:pt idx="125">
                  <c:v>58.509144924221985</c:v>
                </c:pt>
                <c:pt idx="126">
                  <c:v>336.18326967794195</c:v>
                </c:pt>
                <c:pt idx="127">
                  <c:v>140.81519732307009</c:v>
                </c:pt>
                <c:pt idx="128">
                  <c:v>476.97762043310354</c:v>
                </c:pt>
                <c:pt idx="129">
                  <c:v>128.04301419373002</c:v>
                </c:pt>
                <c:pt idx="130">
                  <c:v>52.522350624562051</c:v>
                </c:pt>
                <c:pt idx="131">
                  <c:v>395.80287920200703</c:v>
                </c:pt>
                <c:pt idx="132">
                  <c:v>259.67757544852162</c:v>
                </c:pt>
                <c:pt idx="133">
                  <c:v>57.784406533214522</c:v>
                </c:pt>
                <c:pt idx="134">
                  <c:v>411.58257721883837</c:v>
                </c:pt>
                <c:pt idx="135">
                  <c:v>43.970327877977638</c:v>
                </c:pt>
                <c:pt idx="136">
                  <c:v>19.231753381265161</c:v>
                </c:pt>
                <c:pt idx="137">
                  <c:v>6.4985215821464308</c:v>
                </c:pt>
                <c:pt idx="138">
                  <c:v>80.944120138589113</c:v>
                </c:pt>
                <c:pt idx="139">
                  <c:v>129.56494225717123</c:v>
                </c:pt>
                <c:pt idx="140">
                  <c:v>371.51756329239362</c:v>
                </c:pt>
                <c:pt idx="141">
                  <c:v>77.879929479893988</c:v>
                </c:pt>
                <c:pt idx="142">
                  <c:v>79.673623963342962</c:v>
                </c:pt>
                <c:pt idx="143">
                  <c:v>99.026224156801661</c:v>
                </c:pt>
                <c:pt idx="144">
                  <c:v>34.322221363544998</c:v>
                </c:pt>
                <c:pt idx="145">
                  <c:v>46.654756257451673</c:v>
                </c:pt>
                <c:pt idx="146">
                  <c:v>57.253088090314385</c:v>
                </c:pt>
                <c:pt idx="147">
                  <c:v>150.37109486629802</c:v>
                </c:pt>
                <c:pt idx="148">
                  <c:v>235.91488811698721</c:v>
                </c:pt>
                <c:pt idx="149">
                  <c:v>242.28906369941726</c:v>
                </c:pt>
                <c:pt idx="150">
                  <c:v>194.86541501594218</c:v>
                </c:pt>
                <c:pt idx="151">
                  <c:v>27.523030657400099</c:v>
                </c:pt>
                <c:pt idx="152">
                  <c:v>78.605588314911998</c:v>
                </c:pt>
                <c:pt idx="153">
                  <c:v>130.38644678758644</c:v>
                </c:pt>
                <c:pt idx="154">
                  <c:v>17.01314775516564</c:v>
                </c:pt>
                <c:pt idx="155">
                  <c:v>174.2848372442628</c:v>
                </c:pt>
                <c:pt idx="156">
                  <c:v>16.896406320368246</c:v>
                </c:pt>
                <c:pt idx="157">
                  <c:v>8.3061793412323723</c:v>
                </c:pt>
                <c:pt idx="158">
                  <c:v>32.711047220772613</c:v>
                </c:pt>
                <c:pt idx="159">
                  <c:v>15.444055278814609</c:v>
                </c:pt>
                <c:pt idx="160">
                  <c:v>10.894487627373762</c:v>
                </c:pt>
                <c:pt idx="161">
                  <c:v>4.6743294997484792</c:v>
                </c:pt>
                <c:pt idx="162">
                  <c:v>5.6223900457549814</c:v>
                </c:pt>
                <c:pt idx="163">
                  <c:v>9.732979625679878</c:v>
                </c:pt>
                <c:pt idx="164">
                  <c:v>13.924393918719465</c:v>
                </c:pt>
                <c:pt idx="165">
                  <c:v>409.8985823503715</c:v>
                </c:pt>
                <c:pt idx="166">
                  <c:v>67.521364608426055</c:v>
                </c:pt>
                <c:pt idx="167">
                  <c:v>57.945032608052266</c:v>
                </c:pt>
                <c:pt idx="168">
                  <c:v>5.1074995247597279</c:v>
                </c:pt>
                <c:pt idx="169">
                  <c:v>49.685257214554881</c:v>
                </c:pt>
                <c:pt idx="170">
                  <c:v>73.172117657097829</c:v>
                </c:pt>
                <c:pt idx="171">
                  <c:v>92.996733524492257</c:v>
                </c:pt>
                <c:pt idx="172">
                  <c:v>6.139497559718599</c:v>
                </c:pt>
                <c:pt idx="173">
                  <c:v>8.6015680746183349</c:v>
                </c:pt>
                <c:pt idx="174">
                  <c:v>25.089194489929461</c:v>
                </c:pt>
                <c:pt idx="175">
                  <c:v>33.364081644762216</c:v>
                </c:pt>
              </c:numCache>
            </c:numRef>
          </c:xVal>
          <c:yVal>
            <c:numRef>
              <c:f>Sheet1!$B$2:$B$177</c:f>
              <c:numCache>
                <c:formatCode>0.00</c:formatCode>
                <c:ptCount val="176"/>
                <c:pt idx="0">
                  <c:v>0.53180969920944143</c:v>
                </c:pt>
                <c:pt idx="1">
                  <c:v>0.69903005468226886</c:v>
                </c:pt>
                <c:pt idx="2">
                  <c:v>0.69560755578806399</c:v>
                </c:pt>
                <c:pt idx="3">
                  <c:v>0.75376753474292468</c:v>
                </c:pt>
                <c:pt idx="4">
                  <c:v>0.6665125699524036</c:v>
                </c:pt>
                <c:pt idx="5">
                  <c:v>0.58117856546099289</c:v>
                </c:pt>
                <c:pt idx="6">
                  <c:v>0.5024656782427469</c:v>
                </c:pt>
                <c:pt idx="7">
                  <c:v>0.58992017706695854</c:v>
                </c:pt>
                <c:pt idx="8">
                  <c:v>0.73472009733071209</c:v>
                </c:pt>
                <c:pt idx="9">
                  <c:v>0.5917381944723934</c:v>
                </c:pt>
                <c:pt idx="10">
                  <c:v>0.53771474059574553</c:v>
                </c:pt>
                <c:pt idx="11">
                  <c:v>0.46266409187558249</c:v>
                </c:pt>
                <c:pt idx="12">
                  <c:v>0.49230450211835647</c:v>
                </c:pt>
                <c:pt idx="13">
                  <c:v>0.55593848219277997</c:v>
                </c:pt>
                <c:pt idx="14">
                  <c:v>0.4574692129260281</c:v>
                </c:pt>
                <c:pt idx="15">
                  <c:v>0.58808347246845116</c:v>
                </c:pt>
                <c:pt idx="16">
                  <c:v>0.51632081469924607</c:v>
                </c:pt>
                <c:pt idx="17">
                  <c:v>0.7055994252402138</c:v>
                </c:pt>
                <c:pt idx="18">
                  <c:v>0.70221642575382892</c:v>
                </c:pt>
                <c:pt idx="19">
                  <c:v>0.71655212857754835</c:v>
                </c:pt>
                <c:pt idx="20">
                  <c:v>0.5051337229118531</c:v>
                </c:pt>
                <c:pt idx="21">
                  <c:v>0.6062825819536497</c:v>
                </c:pt>
                <c:pt idx="22">
                  <c:v>0.64652526982300351</c:v>
                </c:pt>
                <c:pt idx="23">
                  <c:v>0.43657991125082857</c:v>
                </c:pt>
                <c:pt idx="24">
                  <c:v>0.40397024739064608</c:v>
                </c:pt>
                <c:pt idx="25">
                  <c:v>0.53455328575459604</c:v>
                </c:pt>
                <c:pt idx="26">
                  <c:v>0.59056103506419477</c:v>
                </c:pt>
                <c:pt idx="27">
                  <c:v>0.4234231852553077</c:v>
                </c:pt>
                <c:pt idx="28">
                  <c:v>0.79012017483625518</c:v>
                </c:pt>
                <c:pt idx="29">
                  <c:v>0.42686886087646869</c:v>
                </c:pt>
                <c:pt idx="30">
                  <c:v>0.51916252686803011</c:v>
                </c:pt>
                <c:pt idx="31">
                  <c:v>0.51461967272490616</c:v>
                </c:pt>
                <c:pt idx="32">
                  <c:v>0.52394671239350554</c:v>
                </c:pt>
                <c:pt idx="33">
                  <c:v>0.35393119203339585</c:v>
                </c:pt>
                <c:pt idx="34">
                  <c:v>0.47655279534814654</c:v>
                </c:pt>
                <c:pt idx="35">
                  <c:v>0.51964372075859133</c:v>
                </c:pt>
                <c:pt idx="36">
                  <c:v>0.45911112163689399</c:v>
                </c:pt>
                <c:pt idx="37">
                  <c:v>0.50322000036836834</c:v>
                </c:pt>
                <c:pt idx="38">
                  <c:v>0.5883163541434715</c:v>
                </c:pt>
                <c:pt idx="39">
                  <c:v>0.41898706478985698</c:v>
                </c:pt>
                <c:pt idx="40">
                  <c:v>0.43997853797660647</c:v>
                </c:pt>
                <c:pt idx="41">
                  <c:v>0.51972943005839323</c:v>
                </c:pt>
                <c:pt idx="42">
                  <c:v>0.41721617425553165</c:v>
                </c:pt>
                <c:pt idx="43">
                  <c:v>0.65403071842824345</c:v>
                </c:pt>
                <c:pt idx="44">
                  <c:v>0.47600573090124748</c:v>
                </c:pt>
                <c:pt idx="45">
                  <c:v>0.36680934465729048</c:v>
                </c:pt>
                <c:pt idx="46">
                  <c:v>0.7965286581734321</c:v>
                </c:pt>
                <c:pt idx="47">
                  <c:v>0.46006723569790536</c:v>
                </c:pt>
                <c:pt idx="48">
                  <c:v>0.45530355322898769</c:v>
                </c:pt>
                <c:pt idx="49">
                  <c:v>0.50325355492329682</c:v>
                </c:pt>
                <c:pt idx="50">
                  <c:v>0.58947628313965317</c:v>
                </c:pt>
                <c:pt idx="51">
                  <c:v>0.92595239850071687</c:v>
                </c:pt>
                <c:pt idx="52">
                  <c:v>0.77403462077387097</c:v>
                </c:pt>
                <c:pt idx="53">
                  <c:v>0.93604342015495512</c:v>
                </c:pt>
                <c:pt idx="54">
                  <c:v>0.90080243991875186</c:v>
                </c:pt>
                <c:pt idx="55">
                  <c:v>0.92154892233940866</c:v>
                </c:pt>
                <c:pt idx="56">
                  <c:v>0.87976944514192545</c:v>
                </c:pt>
                <c:pt idx="57">
                  <c:v>0.89102021644103457</c:v>
                </c:pt>
                <c:pt idx="58">
                  <c:v>0.93063859254564973</c:v>
                </c:pt>
                <c:pt idx="59">
                  <c:v>0.8650750409424125</c:v>
                </c:pt>
                <c:pt idx="60">
                  <c:v>0.9328045492693906</c:v>
                </c:pt>
                <c:pt idx="61">
                  <c:v>0.91606603684458232</c:v>
                </c:pt>
                <c:pt idx="62">
                  <c:v>0.9077551793931995</c:v>
                </c:pt>
                <c:pt idx="63">
                  <c:v>0.92947411111012224</c:v>
                </c:pt>
                <c:pt idx="64">
                  <c:v>0.93841005899505603</c:v>
                </c:pt>
                <c:pt idx="65">
                  <c:v>0.91965277545544544</c:v>
                </c:pt>
                <c:pt idx="66">
                  <c:v>0.86993406704056964</c:v>
                </c:pt>
                <c:pt idx="67">
                  <c:v>0.84711334071287581</c:v>
                </c:pt>
                <c:pt idx="68">
                  <c:v>0.88756142888998346</c:v>
                </c:pt>
                <c:pt idx="69">
                  <c:v>0.81119175021267953</c:v>
                </c:pt>
                <c:pt idx="70">
                  <c:v>0.83784463394834396</c:v>
                </c:pt>
                <c:pt idx="71">
                  <c:v>0.85520023672264023</c:v>
                </c:pt>
                <c:pt idx="72">
                  <c:v>0.90393886089011288</c:v>
                </c:pt>
                <c:pt idx="73">
                  <c:v>0.83110227884211219</c:v>
                </c:pt>
                <c:pt idx="74">
                  <c:v>0.81300624867146398</c:v>
                </c:pt>
                <c:pt idx="75">
                  <c:v>0.89622382855890892</c:v>
                </c:pt>
                <c:pt idx="76">
                  <c:v>0.84714303913219624</c:v>
                </c:pt>
                <c:pt idx="77">
                  <c:v>0.85813514452445749</c:v>
                </c:pt>
                <c:pt idx="78">
                  <c:v>0.87104203894607279</c:v>
                </c:pt>
                <c:pt idx="79">
                  <c:v>0.86878438539869729</c:v>
                </c:pt>
                <c:pt idx="80">
                  <c:v>0.87818679465801597</c:v>
                </c:pt>
                <c:pt idx="81">
                  <c:v>0.9239135887246156</c:v>
                </c:pt>
                <c:pt idx="82">
                  <c:v>0.7517039468311737</c:v>
                </c:pt>
                <c:pt idx="83">
                  <c:v>0.80043460415804601</c:v>
                </c:pt>
                <c:pt idx="84">
                  <c:v>0.80752959552767289</c:v>
                </c:pt>
                <c:pt idx="85">
                  <c:v>0.75696542740801309</c:v>
                </c:pt>
                <c:pt idx="86">
                  <c:v>0.70984664669249209</c:v>
                </c:pt>
                <c:pt idx="87">
                  <c:v>0.70625710824131172</c:v>
                </c:pt>
                <c:pt idx="88">
                  <c:v>0.77982232852556022</c:v>
                </c:pt>
                <c:pt idx="89">
                  <c:v>0.75511268317937885</c:v>
                </c:pt>
                <c:pt idx="90">
                  <c:v>0.65001452968656281</c:v>
                </c:pt>
                <c:pt idx="91">
                  <c:v>0.69975339905275424</c:v>
                </c:pt>
                <c:pt idx="92">
                  <c:v>0.6721930332466709</c:v>
                </c:pt>
                <c:pt idx="93">
                  <c:v>0.81627548670301231</c:v>
                </c:pt>
                <c:pt idx="94">
                  <c:v>0.63983291089580574</c:v>
                </c:pt>
                <c:pt idx="95">
                  <c:v>0.82484965000841348</c:v>
                </c:pt>
                <c:pt idx="96">
                  <c:v>0.74704538259088049</c:v>
                </c:pt>
                <c:pt idx="97">
                  <c:v>0.76077299007881249</c:v>
                </c:pt>
                <c:pt idx="98">
                  <c:v>0.84285878076783016</c:v>
                </c:pt>
                <c:pt idx="99">
                  <c:v>0.74977285457469078</c:v>
                </c:pt>
                <c:pt idx="100">
                  <c:v>0.75189975257563157</c:v>
                </c:pt>
                <c:pt idx="101">
                  <c:v>0.77726760552715823</c:v>
                </c:pt>
                <c:pt idx="102">
                  <c:v>0.73579791942238093</c:v>
                </c:pt>
                <c:pt idx="103">
                  <c:v>0.65031162252060382</c:v>
                </c:pt>
                <c:pt idx="104">
                  <c:v>0.80394843313691133</c:v>
                </c:pt>
                <c:pt idx="105">
                  <c:v>0.79386463168332178</c:v>
                </c:pt>
                <c:pt idx="106">
                  <c:v>0.78932029989074803</c:v>
                </c:pt>
                <c:pt idx="107">
                  <c:v>0.69253697050931051</c:v>
                </c:pt>
                <c:pt idx="108">
                  <c:v>0.70166243405093431</c:v>
                </c:pt>
                <c:pt idx="109">
                  <c:v>0.67415872684264022</c:v>
                </c:pt>
                <c:pt idx="110">
                  <c:v>0.61671674935789755</c:v>
                </c:pt>
                <c:pt idx="111">
                  <c:v>0.73224092347513436</c:v>
                </c:pt>
                <c:pt idx="112">
                  <c:v>0.65773978911588127</c:v>
                </c:pt>
                <c:pt idx="113">
                  <c:v>0.80712629587972029</c:v>
                </c:pt>
                <c:pt idx="114">
                  <c:v>0.49794511062750563</c:v>
                </c:pt>
                <c:pt idx="115">
                  <c:v>0.71961242187116581</c:v>
                </c:pt>
                <c:pt idx="116">
                  <c:v>0.80026863095122702</c:v>
                </c:pt>
                <c:pt idx="117">
                  <c:v>0.65363724298193082</c:v>
                </c:pt>
                <c:pt idx="118">
                  <c:v>0.70755315436627941</c:v>
                </c:pt>
                <c:pt idx="119">
                  <c:v>0.74704915211912148</c:v>
                </c:pt>
                <c:pt idx="120">
                  <c:v>0.77953591018673951</c:v>
                </c:pt>
                <c:pt idx="121">
                  <c:v>0.77194849918157493</c:v>
                </c:pt>
                <c:pt idx="122">
                  <c:v>0.77784458523597233</c:v>
                </c:pt>
                <c:pt idx="123">
                  <c:v>0.72270789923458134</c:v>
                </c:pt>
                <c:pt idx="124">
                  <c:v>0.71505659303342339</c:v>
                </c:pt>
                <c:pt idx="125">
                  <c:v>0.75924536998366643</c:v>
                </c:pt>
                <c:pt idx="126">
                  <c:v>0.85329863821228358</c:v>
                </c:pt>
                <c:pt idx="127">
                  <c:v>0.79805734320084043</c:v>
                </c:pt>
                <c:pt idx="128">
                  <c:v>0.86275666039651411</c:v>
                </c:pt>
                <c:pt idx="129">
                  <c:v>0.90324484142540495</c:v>
                </c:pt>
                <c:pt idx="130">
                  <c:v>0.68531707772009054</c:v>
                </c:pt>
                <c:pt idx="131">
                  <c:v>0.8030660242495482</c:v>
                </c:pt>
                <c:pt idx="132">
                  <c:v>0.82098939527812864</c:v>
                </c:pt>
                <c:pt idx="133">
                  <c:v>0.75669598161760887</c:v>
                </c:pt>
                <c:pt idx="134">
                  <c:v>0.84610833886364012</c:v>
                </c:pt>
                <c:pt idx="135">
                  <c:v>0.73537313966980966</c:v>
                </c:pt>
                <c:pt idx="136">
                  <c:v>0.53570370082832008</c:v>
                </c:pt>
                <c:pt idx="137">
                  <c:v>0.45190042638439004</c:v>
                </c:pt>
                <c:pt idx="138">
                  <c:v>0.79063398071465241</c:v>
                </c:pt>
                <c:pt idx="139">
                  <c:v>0.94399757027811748</c:v>
                </c:pt>
                <c:pt idx="140">
                  <c:v>0.95252201967581829</c:v>
                </c:pt>
                <c:pt idx="141">
                  <c:v>0.75070973757603288</c:v>
                </c:pt>
                <c:pt idx="142">
                  <c:v>0.78669303469972784</c:v>
                </c:pt>
                <c:pt idx="143">
                  <c:v>0.76845083084919141</c:v>
                </c:pt>
                <c:pt idx="144">
                  <c:v>0.78491097340496918</c:v>
                </c:pt>
                <c:pt idx="145">
                  <c:v>0.75668718811133506</c:v>
                </c:pt>
                <c:pt idx="146">
                  <c:v>0.81369230188998121</c:v>
                </c:pt>
                <c:pt idx="147">
                  <c:v>0.90915295664779872</c:v>
                </c:pt>
                <c:pt idx="148">
                  <c:v>0.9386312851065749</c:v>
                </c:pt>
                <c:pt idx="149">
                  <c:v>0.90256112640990338</c:v>
                </c:pt>
                <c:pt idx="150">
                  <c:v>0.91668762945436066</c:v>
                </c:pt>
                <c:pt idx="151">
                  <c:v>0.69397966394211896</c:v>
                </c:pt>
                <c:pt idx="152">
                  <c:v>0.75468354591492348</c:v>
                </c:pt>
                <c:pt idx="153">
                  <c:v>0.8018076952157448</c:v>
                </c:pt>
                <c:pt idx="154">
                  <c:v>0.69893237253676199</c:v>
                </c:pt>
                <c:pt idx="155">
                  <c:v>0.93258291443370078</c:v>
                </c:pt>
                <c:pt idx="156">
                  <c:v>0.56160258568140708</c:v>
                </c:pt>
                <c:pt idx="157">
                  <c:v>0.60815583703192777</c:v>
                </c:pt>
                <c:pt idx="158">
                  <c:v>0.69399806213388093</c:v>
                </c:pt>
                <c:pt idx="159">
                  <c:v>0.7700102474771624</c:v>
                </c:pt>
                <c:pt idx="160">
                  <c:v>0.57826321273645698</c:v>
                </c:pt>
                <c:pt idx="161">
                  <c:v>0.49769511404578859</c:v>
                </c:pt>
                <c:pt idx="162">
                  <c:v>0.57403802503497448</c:v>
                </c:pt>
                <c:pt idx="163">
                  <c:v>0.58197504065757832</c:v>
                </c:pt>
                <c:pt idx="164">
                  <c:v>0.54430400197212958</c:v>
                </c:pt>
                <c:pt idx="165">
                  <c:v>0.85326697177068311</c:v>
                </c:pt>
                <c:pt idx="166">
                  <c:v>0.74081631544727133</c:v>
                </c:pt>
                <c:pt idx="167">
                  <c:v>0.60127572532629825</c:v>
                </c:pt>
                <c:pt idx="168">
                  <c:v>0.62494409767016457</c:v>
                </c:pt>
                <c:pt idx="169">
                  <c:v>0.74078795496955663</c:v>
                </c:pt>
                <c:pt idx="170">
                  <c:v>0.71686435057213438</c:v>
                </c:pt>
                <c:pt idx="171">
                  <c:v>0.61241760910528764</c:v>
                </c:pt>
                <c:pt idx="172">
                  <c:v>0.54596004143062493</c:v>
                </c:pt>
                <c:pt idx="173">
                  <c:v>0.60257391539551985</c:v>
                </c:pt>
                <c:pt idx="174">
                  <c:v>0.712812176548273</c:v>
                </c:pt>
                <c:pt idx="175">
                  <c:v>0.725644707457446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27C3-40BF-9853-B1443E6B9F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22666264"/>
        <c:axId val="1022679056"/>
      </c:scatterChart>
      <c:valAx>
        <c:axId val="1022666264"/>
        <c:scaling>
          <c:orientation val="minMax"/>
          <c:max val="500"/>
        </c:scaling>
        <c:delete val="0"/>
        <c:axPos val="b"/>
        <c:numFmt formatCode="#,##0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66666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GB" sz="1300" b="0" i="0" u="none" strike="noStrike" kern="1200" baseline="0">
                <a:solidFill>
                  <a:schemeClr val="tx1"/>
                </a:solidFill>
                <a:latin typeface="Univers for BP Light" panose="020B0403020202020204" pitchFamily="34" charset="0"/>
                <a:ea typeface="+mn-ea"/>
                <a:cs typeface="+mn-cs"/>
              </a:defRPr>
            </a:pPr>
            <a:endParaRPr lang="en-US"/>
          </a:p>
        </c:txPr>
        <c:crossAx val="1022679056"/>
        <c:crosses val="autoZero"/>
        <c:crossBetween val="midCat"/>
        <c:majorUnit val="100"/>
      </c:valAx>
      <c:valAx>
        <c:axId val="1022679056"/>
        <c:scaling>
          <c:orientation val="minMax"/>
          <c:max val="1"/>
        </c:scaling>
        <c:delete val="0"/>
        <c:axPos val="l"/>
        <c:numFmt formatCode="0.0" sourceLinked="0"/>
        <c:majorTickMark val="in"/>
        <c:minorTickMark val="none"/>
        <c:tickLblPos val="nextTo"/>
        <c:spPr>
          <a:noFill/>
          <a:ln w="9525" cap="flat" cmpd="sng" algn="ctr">
            <a:solidFill>
              <a:srgbClr val="66666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GB" sz="1300" b="0" i="0" u="none" strike="noStrike" kern="1200" baseline="0">
                <a:solidFill>
                  <a:schemeClr val="tx1"/>
                </a:solidFill>
                <a:latin typeface="Univers for BP Light" panose="020B0403020202020204" pitchFamily="34" charset="0"/>
                <a:ea typeface="+mn-ea"/>
                <a:cs typeface="+mn-cs"/>
              </a:defRPr>
            </a:pPr>
            <a:endParaRPr lang="en-US"/>
          </a:p>
        </c:txPr>
        <c:crossAx val="1022666264"/>
        <c:crosses val="autoZero"/>
        <c:crossBetween val="midCat"/>
        <c:majorUnit val="0.2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 algn="ctr">
        <a:defRPr lang="en-GB" sz="1300" b="0" i="0" u="none" strike="noStrike" kern="1200" baseline="0">
          <a:solidFill>
            <a:schemeClr val="tx1"/>
          </a:solidFill>
          <a:latin typeface="Univers for BP Light" panose="020B0403020202020204" pitchFamily="34" charset="0"/>
          <a:ea typeface="+mn-ea"/>
          <a:cs typeface="+mn-cs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6688750683772247E-2"/>
          <c:y val="8.7902628135588717E-2"/>
          <c:w val="0.83786834061750137"/>
          <c:h val="0.80182834272534087"/>
        </c:manualLayout>
      </c:layout>
      <c:barChart>
        <c:barDir val="col"/>
        <c:grouping val="stacked"/>
        <c:varyColors val="0"/>
        <c:ser>
          <c:idx val="1"/>
          <c:order val="2"/>
          <c:tx>
            <c:strRef>
              <c:f>Sheet1!$B$4</c:f>
              <c:strCache>
                <c:ptCount val="1"/>
                <c:pt idx="0">
                  <c:v>Carbon intensity of energy</c:v>
                </c:pt>
              </c:strCache>
            </c:strRef>
          </c:tx>
          <c:spPr>
            <a:solidFill>
              <a:srgbClr val="00B050"/>
            </a:solidFill>
            <a:ln>
              <a:solidFill>
                <a:sysClr val="window" lastClr="FFFFFF">
                  <a:lumMod val="75000"/>
                </a:sysClr>
              </a:solidFill>
            </a:ln>
          </c:spPr>
          <c:invertIfNegative val="0"/>
          <c:cat>
            <c:numRef>
              <c:f>Sheet1!$C$1:$T$1</c:f>
              <c:numCache>
                <c:formatCode>General</c:formatCode>
                <c:ptCount val="17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  <c:pt idx="16">
                  <c:v>2017</c:v>
                </c:pt>
              </c:numCache>
            </c:numRef>
          </c:cat>
          <c:val>
            <c:numRef>
              <c:f>Sheet1!$C$4:$T$4</c:f>
              <c:numCache>
                <c:formatCode>0.0%</c:formatCode>
                <c:ptCount val="17"/>
                <c:pt idx="0">
                  <c:v>2.3303880479974559E-3</c:v>
                </c:pt>
                <c:pt idx="1">
                  <c:v>-2.0109662945744233E-4</c:v>
                </c:pt>
                <c:pt idx="2">
                  <c:v>1.2474705819244258E-2</c:v>
                </c:pt>
                <c:pt idx="3">
                  <c:v>2.2987552621429597E-3</c:v>
                </c:pt>
                <c:pt idx="4">
                  <c:v>5.8117165749818067E-3</c:v>
                </c:pt>
                <c:pt idx="5">
                  <c:v>1.3950348149425196E-3</c:v>
                </c:pt>
                <c:pt idx="6">
                  <c:v>3.652056297481554E-3</c:v>
                </c:pt>
                <c:pt idx="7">
                  <c:v>-2.8444486084114873E-3</c:v>
                </c:pt>
                <c:pt idx="8">
                  <c:v>-6.005108311459173E-3</c:v>
                </c:pt>
                <c:pt idx="9">
                  <c:v>-3.3720220159443315E-3</c:v>
                </c:pt>
                <c:pt idx="10">
                  <c:v>4.4007749883776537E-3</c:v>
                </c:pt>
                <c:pt idx="11">
                  <c:v>-3.1618287778339971E-3</c:v>
                </c:pt>
                <c:pt idx="12">
                  <c:v>-4.022090883146312E-3</c:v>
                </c:pt>
                <c:pt idx="13">
                  <c:v>-7.0661633817084013E-3</c:v>
                </c:pt>
                <c:pt idx="14">
                  <c:v>-9.1880154793867463E-3</c:v>
                </c:pt>
                <c:pt idx="15">
                  <c:v>-9.9875395023191205E-3</c:v>
                </c:pt>
                <c:pt idx="16">
                  <c:v>-6.0285020660436617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56C-4B65-88C3-807ED038C7F1}"/>
            </c:ext>
          </c:extLst>
        </c:ser>
        <c:ser>
          <c:idx val="3"/>
          <c:order val="3"/>
          <c:tx>
            <c:strRef>
              <c:f>Sheet1!$B$5</c:f>
              <c:strCache>
                <c:ptCount val="1"/>
                <c:pt idx="0">
                  <c:v>Energy intensity of GDP</c:v>
                </c:pt>
              </c:strCache>
            </c:strRef>
          </c:tx>
          <c:spPr>
            <a:solidFill>
              <a:srgbClr val="6633C9"/>
            </a:solidFill>
            <a:ln>
              <a:solidFill>
                <a:sysClr val="window" lastClr="FFFFFF">
                  <a:lumMod val="75000"/>
                </a:sysClr>
              </a:solidFill>
            </a:ln>
          </c:spPr>
          <c:invertIfNegative val="0"/>
          <c:cat>
            <c:numRef>
              <c:f>Sheet1!$C$1:$T$1</c:f>
              <c:numCache>
                <c:formatCode>General</c:formatCode>
                <c:ptCount val="17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  <c:pt idx="16">
                  <c:v>2017</c:v>
                </c:pt>
              </c:numCache>
            </c:numRef>
          </c:cat>
          <c:val>
            <c:numRef>
              <c:f>Sheet1!$C$5:$T$5</c:f>
              <c:numCache>
                <c:formatCode>0.0%</c:formatCode>
                <c:ptCount val="17"/>
                <c:pt idx="0">
                  <c:v>-1.2283545260871165E-2</c:v>
                </c:pt>
                <c:pt idx="1">
                  <c:v>-5.4164163818987143E-3</c:v>
                </c:pt>
                <c:pt idx="2">
                  <c:v>-7.3840269314828788E-4</c:v>
                </c:pt>
                <c:pt idx="3">
                  <c:v>-2.4269833444570121E-3</c:v>
                </c:pt>
                <c:pt idx="4">
                  <c:v>-1.2110366467325995E-2</c:v>
                </c:pt>
                <c:pt idx="5">
                  <c:v>-2.2250311052900762E-2</c:v>
                </c:pt>
                <c:pt idx="6">
                  <c:v>-2.0274358815489224E-2</c:v>
                </c:pt>
                <c:pt idx="7">
                  <c:v>-1.6655443756998234E-2</c:v>
                </c:pt>
                <c:pt idx="8">
                  <c:v>-1.096276194874013E-2</c:v>
                </c:pt>
                <c:pt idx="9">
                  <c:v>-3.6322886306875413E-3</c:v>
                </c:pt>
                <c:pt idx="10">
                  <c:v>-1.5573578288211043E-2</c:v>
                </c:pt>
                <c:pt idx="11">
                  <c:v>-1.8383716125645266E-2</c:v>
                </c:pt>
                <c:pt idx="12">
                  <c:v>-1.4194200763232856E-2</c:v>
                </c:pt>
                <c:pt idx="13">
                  <c:v>-2.4167936396300327E-2</c:v>
                </c:pt>
                <c:pt idx="14">
                  <c:v>-2.3939759891309031E-2</c:v>
                </c:pt>
                <c:pt idx="15">
                  <c:v>-1.6611592644156681E-2</c:v>
                </c:pt>
                <c:pt idx="16">
                  <c:v>-1.704831503634085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56C-4B65-88C3-807ED038C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2"/>
        <c:overlap val="100"/>
        <c:axId val="253920000"/>
        <c:axId val="253921536"/>
      </c:barChart>
      <c:lineChart>
        <c:grouping val="standard"/>
        <c:varyColors val="0"/>
        <c:ser>
          <c:idx val="2"/>
          <c:order val="0"/>
          <c:tx>
            <c:strRef>
              <c:f>Sheet1!$B$2</c:f>
              <c:strCache>
                <c:ptCount val="1"/>
                <c:pt idx="0">
                  <c:v>GDP</c:v>
                </c:pt>
              </c:strCache>
            </c:strRef>
          </c:tx>
          <c:spPr>
            <a:ln w="28575">
              <a:solidFill>
                <a:srgbClr val="FF9900"/>
              </a:solidFill>
            </a:ln>
          </c:spPr>
          <c:marker>
            <c:symbol val="none"/>
          </c:marker>
          <c:cat>
            <c:numRef>
              <c:f>Sheet1!$C$1:$T$1</c:f>
              <c:numCache>
                <c:formatCode>General</c:formatCode>
                <c:ptCount val="17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  <c:pt idx="16">
                  <c:v>2017</c:v>
                </c:pt>
              </c:numCache>
            </c:numRef>
          </c:cat>
          <c:val>
            <c:numRef>
              <c:f>Sheet1!$C$2:$T$2</c:f>
              <c:numCache>
                <c:formatCode>0.0%</c:formatCode>
                <c:ptCount val="17"/>
                <c:pt idx="0">
                  <c:v>2.3815698712697175E-2</c:v>
                </c:pt>
                <c:pt idx="1">
                  <c:v>2.8417015291224423E-2</c:v>
                </c:pt>
                <c:pt idx="2">
                  <c:v>3.7289594358410172E-2</c:v>
                </c:pt>
                <c:pt idx="3">
                  <c:v>5.1793120402694237E-2</c:v>
                </c:pt>
                <c:pt idx="4">
                  <c:v>4.7698319018675495E-2</c:v>
                </c:pt>
                <c:pt idx="5">
                  <c:v>5.3430772589360798E-2</c:v>
                </c:pt>
                <c:pt idx="6">
                  <c:v>5.4175010849279781E-2</c:v>
                </c:pt>
                <c:pt idx="7">
                  <c:v>3.0115980085517302E-2</c:v>
                </c:pt>
                <c:pt idx="8">
                  <c:v>-5.1601129429391657E-3</c:v>
                </c:pt>
                <c:pt idx="9">
                  <c:v>5.3133665119497353E-2</c:v>
                </c:pt>
                <c:pt idx="10">
                  <c:v>4.0539961041580641E-2</c:v>
                </c:pt>
                <c:pt idx="11">
                  <c:v>3.3060581649509757E-2</c:v>
                </c:pt>
                <c:pt idx="12">
                  <c:v>3.3756008377700208E-2</c:v>
                </c:pt>
                <c:pt idx="13">
                  <c:v>3.4725324185467255E-2</c:v>
                </c:pt>
                <c:pt idx="14">
                  <c:v>3.2931935861026718E-2</c:v>
                </c:pt>
                <c:pt idx="15">
                  <c:v>3.2331822604172E-2</c:v>
                </c:pt>
                <c:pt idx="16">
                  <c:v>3.6731422290425364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56C-4B65-88C3-807ED038C7F1}"/>
            </c:ext>
          </c:extLst>
        </c:ser>
        <c:ser>
          <c:idx val="0"/>
          <c:order val="1"/>
          <c:tx>
            <c:strRef>
              <c:f>Sheet1!$B$3</c:f>
              <c:strCache>
                <c:ptCount val="1"/>
                <c:pt idx="0">
                  <c:v>CO2</c:v>
                </c:pt>
              </c:strCache>
            </c:strRef>
          </c:tx>
          <c:spPr>
            <a:ln w="28575">
              <a:solidFill>
                <a:sysClr val="window" lastClr="FFFFFF">
                  <a:lumMod val="65000"/>
                </a:sysClr>
              </a:solidFill>
              <a:prstDash val="solid"/>
            </a:ln>
          </c:spPr>
          <c:marker>
            <c:symbol val="none"/>
          </c:marke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3-056C-4B65-88C3-807ED038C7F1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4-056C-4B65-88C3-807ED038C7F1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5-056C-4B65-88C3-807ED038C7F1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6-056C-4B65-88C3-807ED038C7F1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07-056C-4B65-88C3-807ED038C7F1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08-056C-4B65-88C3-807ED038C7F1}"/>
              </c:ext>
            </c:extLst>
          </c:dPt>
          <c:cat>
            <c:numRef>
              <c:f>Sheet1!$C$1:$T$1</c:f>
              <c:numCache>
                <c:formatCode>General</c:formatCode>
                <c:ptCount val="17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  <c:pt idx="16">
                  <c:v>2017</c:v>
                </c:pt>
              </c:numCache>
            </c:numRef>
          </c:cat>
          <c:val>
            <c:numRef>
              <c:f>Sheet1!$C$3:$T$3</c:f>
              <c:numCache>
                <c:formatCode>0.0%</c:formatCode>
                <c:ptCount val="17"/>
                <c:pt idx="0">
                  <c:v>1.6373168815873695E-2</c:v>
                </c:pt>
                <c:pt idx="1">
                  <c:v>2.2640989502272779E-2</c:v>
                </c:pt>
                <c:pt idx="2">
                  <c:v>4.945398462323003E-2</c:v>
                </c:pt>
                <c:pt idx="3">
                  <c:v>4.877901582456845E-2</c:v>
                </c:pt>
                <c:pt idx="4">
                  <c:v>4.3877619636742748E-2</c:v>
                </c:pt>
                <c:pt idx="5">
                  <c:v>3.1428484381914812E-2</c:v>
                </c:pt>
                <c:pt idx="6">
                  <c:v>3.6574140526494991E-2</c:v>
                </c:pt>
                <c:pt idx="7">
                  <c:v>7.3178567151090945E-3</c:v>
                </c:pt>
                <c:pt idx="8">
                  <c:v>-1.9295413478610857E-2</c:v>
                </c:pt>
                <c:pt idx="9">
                  <c:v>4.5770088723290137E-2</c:v>
                </c:pt>
                <c:pt idx="10" formatCode="0.0000%">
                  <c:v>2.8842898478214751E-2</c:v>
                </c:pt>
                <c:pt idx="11">
                  <c:v>8.1008561930493439E-3</c:v>
                </c:pt>
                <c:pt idx="12">
                  <c:v>1.776460254882628E-2</c:v>
                </c:pt>
                <c:pt idx="13">
                  <c:v>2.5833149571032887E-3</c:v>
                </c:pt>
                <c:pt idx="14">
                  <c:v>-1.059598727066291E-3</c:v>
                </c:pt>
                <c:pt idx="15">
                  <c:v>2.297943349183873E-3</c:v>
                </c:pt>
                <c:pt idx="16">
                  <c:v>1.568861728947301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056C-4B65-88C3-807ED038C7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53920000"/>
        <c:axId val="253921536"/>
      </c:lineChart>
      <c:catAx>
        <c:axId val="2539200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ln w="9525">
            <a:solidFill>
              <a:srgbClr val="666666"/>
            </a:solidFill>
            <a:prstDash val="solid"/>
          </a:ln>
        </c:spPr>
        <c:txPr>
          <a:bodyPr rot="0" vert="horz"/>
          <a:lstStyle/>
          <a:p>
            <a:pPr algn="ctr">
              <a:defRPr sz="1300">
                <a:latin typeface="Univers for BP Light" panose="020B0403020202020204" pitchFamily="34" charset="0"/>
              </a:defRPr>
            </a:pPr>
            <a:endParaRPr lang="en-US"/>
          </a:p>
        </c:txPr>
        <c:crossAx val="253921536"/>
        <c:crosses val="autoZero"/>
        <c:auto val="1"/>
        <c:lblAlgn val="ctr"/>
        <c:lblOffset val="100"/>
        <c:tickLblSkip val="4"/>
        <c:tickMarkSkip val="17"/>
        <c:noMultiLvlLbl val="0"/>
      </c:catAx>
      <c:valAx>
        <c:axId val="253921536"/>
        <c:scaling>
          <c:orientation val="minMax"/>
          <c:max val="6.0000000000000012E-2"/>
          <c:min val="-6.0000000000000012E-2"/>
        </c:scaling>
        <c:delete val="0"/>
        <c:axPos val="l"/>
        <c:numFmt formatCode="0%" sourceLinked="0"/>
        <c:majorTickMark val="in"/>
        <c:minorTickMark val="none"/>
        <c:tickLblPos val="nextTo"/>
        <c:spPr>
          <a:ln w="9495">
            <a:solidFill>
              <a:srgbClr val="666666"/>
            </a:solidFill>
            <a:prstDash val="solid"/>
          </a:ln>
        </c:spPr>
        <c:txPr>
          <a:bodyPr rot="0" vert="horz"/>
          <a:lstStyle/>
          <a:p>
            <a:pPr algn="ctr">
              <a:defRPr sz="1300">
                <a:latin typeface="Univers for BP Light" panose="020B0403020202020204" pitchFamily="34" charset="0"/>
              </a:defRPr>
            </a:pPr>
            <a:endParaRPr lang="en-US"/>
          </a:p>
        </c:txPr>
        <c:crossAx val="253920000"/>
        <c:crosses val="autoZero"/>
        <c:crossBetween val="between"/>
        <c:majorUnit val="2.0000000000000004E-2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12555386112295838"/>
          <c:y val="0.64560123308275541"/>
          <c:w val="0.74624333433745094"/>
          <c:h val="0.2331329465917793"/>
        </c:manualLayout>
      </c:layout>
      <c:overlay val="0"/>
      <c:txPr>
        <a:bodyPr/>
        <a:lstStyle/>
        <a:p>
          <a:pPr>
            <a:defRPr sz="1300">
              <a:latin typeface="Univers for BP" panose="020B0603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 algn="ctr">
        <a:defRPr lang="en-GB" sz="1400" b="0" i="0" u="none" strike="noStrike" kern="1200" baseline="0">
          <a:solidFill>
            <a:srgbClr val="000000"/>
          </a:solidFill>
          <a:latin typeface="Univers 55"/>
          <a:ea typeface="Univers 55"/>
          <a:cs typeface="Univers 55"/>
        </a:defRPr>
      </a:pPr>
      <a:endParaRPr lang="en-US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628055859910212"/>
          <c:y val="0.10205494100828634"/>
          <c:w val="0.8156508561719239"/>
          <c:h val="0.7304060192935145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Base blocks</c:v>
                </c:pt>
              </c:strCache>
            </c:strRef>
          </c:tx>
          <c:spPr>
            <a:noFill/>
            <a:ln w="25400">
              <a:noFill/>
            </a:ln>
          </c:spPr>
          <c:invertIfNegative val="0"/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8924-4AB2-A443-E3642A73DD66}"/>
              </c:ext>
            </c:extLst>
          </c:dPt>
          <c:cat>
            <c:strRef>
              <c:f>Sheet1!$B$1:$E$1</c:f>
              <c:strCache>
                <c:ptCount val="4"/>
                <c:pt idx="0">
                  <c:v>2003-2013</c:v>
                </c:pt>
                <c:pt idx="3">
                  <c:v>2014-2017</c:v>
                </c:pt>
              </c:strCache>
            </c:strRef>
          </c:cat>
          <c:val>
            <c:numRef>
              <c:f>Sheet1!$B$2:$E$2</c:f>
              <c:numCache>
                <c:formatCode>0.000%</c:formatCode>
                <c:ptCount val="4"/>
                <c:pt idx="1">
                  <c:v>6.9771523668284031E-3</c:v>
                </c:pt>
                <c:pt idx="2">
                  <c:v>5.616369582003066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924-4AB2-A443-E3642A73DD66}"/>
            </c:ext>
          </c:extLst>
        </c:ser>
        <c:ser>
          <c:idx val="12"/>
          <c:order val="1"/>
          <c:tx>
            <c:strRef>
              <c:f>Sheet1!$A$3</c:f>
              <c:strCache>
                <c:ptCount val="1"/>
                <c:pt idx="0">
                  <c:v>10 Yr avg 2004-13</c:v>
                </c:pt>
              </c:strCache>
            </c:strRef>
          </c:tx>
          <c:spPr>
            <a:solidFill>
              <a:srgbClr val="666666"/>
            </a:solidFill>
            <a:ln w="9525">
              <a:solidFill>
                <a:srgbClr val="CCCCCC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8924-4AB2-A443-E3642A73DD66}"/>
              </c:ext>
            </c:extLst>
          </c:dPt>
          <c:cat>
            <c:strRef>
              <c:f>Sheet1!$B$1:$E$1</c:f>
              <c:strCache>
                <c:ptCount val="4"/>
                <c:pt idx="0">
                  <c:v>2003-2013</c:v>
                </c:pt>
                <c:pt idx="3">
                  <c:v>2014-2017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  <c:pt idx="0" formatCode="0.000%">
                  <c:v>2.471110133746901E-2</c:v>
                </c:pt>
                <c:pt idx="3" formatCode="0.000%">
                  <c:v>5.6163695820030668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924-4AB2-A443-E3642A73DD66}"/>
            </c:ext>
          </c:extLst>
        </c:ser>
        <c:ser>
          <c:idx val="13"/>
          <c:order val="2"/>
          <c:tx>
            <c:strRef>
              <c:f>Sheet1!$A$4</c:f>
              <c:strCache>
                <c:ptCount val="1"/>
                <c:pt idx="0">
                  <c:v>China</c:v>
                </c:pt>
              </c:strCache>
            </c:strRef>
          </c:tx>
          <c:spPr>
            <a:solidFill>
              <a:srgbClr val="3366FF"/>
            </a:solidFill>
            <a:ln w="9525">
              <a:solidFill>
                <a:srgbClr val="CCCCCC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8924-4AB2-A443-E3642A73DD66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8924-4AB2-A443-E3642A73DD66}"/>
              </c:ext>
            </c:extLst>
          </c:dPt>
          <c:cat>
            <c:strRef>
              <c:f>Sheet1!$B$1:$E$1</c:f>
              <c:strCache>
                <c:ptCount val="4"/>
                <c:pt idx="0">
                  <c:v>2003-2013</c:v>
                </c:pt>
                <c:pt idx="3">
                  <c:v>2014-2017</c:v>
                </c:pt>
              </c:strCache>
            </c:strRef>
          </c:cat>
          <c:val>
            <c:numRef>
              <c:f>Sheet1!$B$4:$E$4</c:f>
              <c:numCache>
                <c:formatCode>0.000%</c:formatCode>
                <c:ptCount val="4"/>
                <c:pt idx="1">
                  <c:v>1.773394897064060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924-4AB2-A443-E3642A73DD66}"/>
            </c:ext>
          </c:extLst>
        </c:ser>
        <c:ser>
          <c:idx val="14"/>
          <c:order val="3"/>
          <c:tx>
            <c:strRef>
              <c:f>Sheet1!$A$5</c:f>
              <c:strCache>
                <c:ptCount val="1"/>
                <c:pt idx="0">
                  <c:v>non</c:v>
                </c:pt>
              </c:strCache>
            </c:strRef>
          </c:tx>
          <c:spPr>
            <a:solidFill>
              <a:srgbClr val="6633C9"/>
            </a:solidFill>
            <a:ln w="9525">
              <a:solidFill>
                <a:srgbClr val="CCCCCC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8924-4AB2-A443-E3642A73DD66}"/>
              </c:ext>
            </c:extLst>
          </c:dPt>
          <c:cat>
            <c:strRef>
              <c:f>Sheet1!$B$1:$E$1</c:f>
              <c:strCache>
                <c:ptCount val="4"/>
                <c:pt idx="0">
                  <c:v>2003-2013</c:v>
                </c:pt>
                <c:pt idx="3">
                  <c:v>2014-2017</c:v>
                </c:pt>
              </c:strCache>
            </c:strRef>
          </c:cat>
          <c:val>
            <c:numRef>
              <c:f>Sheet1!$B$5:$E$5</c:f>
              <c:numCache>
                <c:formatCode>General</c:formatCode>
                <c:ptCount val="4"/>
              </c:numCache>
            </c:numRef>
          </c:val>
          <c:extLst>
            <c:ext xmlns:c16="http://schemas.microsoft.com/office/drawing/2014/chart" uri="{C3380CC4-5D6E-409C-BE32-E72D297353CC}">
              <c16:uniqueId val="{00000008-8924-4AB2-A443-E3642A73DD66}"/>
            </c:ext>
          </c:extLst>
        </c:ser>
        <c:ser>
          <c:idx val="18"/>
          <c:order val="4"/>
          <c:tx>
            <c:strRef>
              <c:f>Sheet1!$A$6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rgbClr val="FF9900"/>
            </a:solidFill>
            <a:ln w="9525">
              <a:solidFill>
                <a:schemeClr val="bg1">
                  <a:lumMod val="75000"/>
                </a:schemeClr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8924-4AB2-A443-E3642A73DD66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8924-4AB2-A443-E3642A73DD66}"/>
              </c:ext>
            </c:extLst>
          </c:dPt>
          <c:cat>
            <c:strRef>
              <c:f>Sheet1!$B$1:$E$1</c:f>
              <c:strCache>
                <c:ptCount val="4"/>
                <c:pt idx="0">
                  <c:v>2003-2013</c:v>
                </c:pt>
                <c:pt idx="3">
                  <c:v>2014-2017</c:v>
                </c:pt>
              </c:strCache>
            </c:strRef>
          </c:cat>
          <c:val>
            <c:numRef>
              <c:f>Sheet1!$B$6:$E$6</c:f>
              <c:numCache>
                <c:formatCode>General</c:formatCode>
                <c:ptCount val="4"/>
                <c:pt idx="2" formatCode="0.00%">
                  <c:v>1.360782784825336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8924-4AB2-A443-E3642A73DD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"/>
        <c:overlap val="100"/>
        <c:axId val="81497472"/>
        <c:axId val="81503360"/>
      </c:barChart>
      <c:catAx>
        <c:axId val="814974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ln w="3175">
            <a:solidFill>
              <a:srgbClr val="666666"/>
            </a:solidFill>
            <a:prstDash val="solid"/>
          </a:ln>
        </c:spPr>
        <c:txPr>
          <a:bodyPr rot="0" vert="horz"/>
          <a:lstStyle/>
          <a:p>
            <a:pPr algn="ctr">
              <a:defRPr sz="1300">
                <a:latin typeface="Univers for BP Light" panose="020B0403020202020204" pitchFamily="34" charset="0"/>
              </a:defRPr>
            </a:pPr>
            <a:endParaRPr lang="en-US"/>
          </a:p>
        </c:txPr>
        <c:crossAx val="81503360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81503360"/>
        <c:scaling>
          <c:orientation val="minMax"/>
          <c:max val="2.5000000000000005E-2"/>
          <c:min val="0"/>
        </c:scaling>
        <c:delete val="0"/>
        <c:axPos val="l"/>
        <c:numFmt formatCode="0.0%" sourceLinked="0"/>
        <c:majorTickMark val="in"/>
        <c:minorTickMark val="none"/>
        <c:tickLblPos val="nextTo"/>
        <c:spPr>
          <a:solidFill>
            <a:schemeClr val="bg1"/>
          </a:solidFill>
          <a:ln w="9525">
            <a:solidFill>
              <a:srgbClr val="666666"/>
            </a:solidFill>
            <a:prstDash val="solid"/>
          </a:ln>
        </c:spPr>
        <c:txPr>
          <a:bodyPr rot="0" vert="horz"/>
          <a:lstStyle/>
          <a:p>
            <a:pPr algn="ctr">
              <a:defRPr sz="1300">
                <a:latin typeface="Univers for BP Light" panose="020B0403020202020204" pitchFamily="34" charset="0"/>
              </a:defRPr>
            </a:pPr>
            <a:endParaRPr lang="en-US"/>
          </a:p>
        </c:txPr>
        <c:crossAx val="81497472"/>
        <c:crosses val="autoZero"/>
        <c:crossBetween val="between"/>
        <c:majorUnit val="5.000000000000001E-3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 algn="ctr">
        <a:defRPr lang="en-GB" sz="1400" b="0" i="0" u="none" strike="noStrike" kern="1200" baseline="0">
          <a:solidFill>
            <a:srgbClr val="000000"/>
          </a:solidFill>
          <a:latin typeface="Univers 55"/>
          <a:ea typeface="Univers 55"/>
          <a:cs typeface="Univers 55"/>
        </a:defRPr>
      </a:pPr>
      <a:endParaRPr lang="en-US"/>
    </a:p>
  </c:txPr>
  <c:externalData r:id="rId1">
    <c:autoUpdate val="0"/>
  </c:externalData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6688750683772247E-2"/>
          <c:y val="8.7902628135588717E-2"/>
          <c:w val="0.83786834061750137"/>
          <c:h val="0.80182834272534087"/>
        </c:manualLayout>
      </c:layout>
      <c:barChart>
        <c:barDir val="col"/>
        <c:grouping val="stacked"/>
        <c:varyColors val="0"/>
        <c:ser>
          <c:idx val="1"/>
          <c:order val="2"/>
          <c:tx>
            <c:strRef>
              <c:f>Sheet1!$B$4</c:f>
              <c:strCache>
                <c:ptCount val="1"/>
                <c:pt idx="0">
                  <c:v>Carbon intensity of energy</c:v>
                </c:pt>
              </c:strCache>
            </c:strRef>
          </c:tx>
          <c:spPr>
            <a:solidFill>
              <a:srgbClr val="00B050"/>
            </a:solidFill>
            <a:ln>
              <a:solidFill>
                <a:sysClr val="window" lastClr="FFFFFF">
                  <a:lumMod val="75000"/>
                </a:sysClr>
              </a:solidFill>
            </a:ln>
          </c:spPr>
          <c:invertIfNegative val="0"/>
          <c:cat>
            <c:numRef>
              <c:f>Sheet1!$C$1:$T$1</c:f>
              <c:numCache>
                <c:formatCode>General</c:formatCode>
                <c:ptCount val="17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  <c:pt idx="16">
                  <c:v>2017</c:v>
                </c:pt>
              </c:numCache>
            </c:numRef>
          </c:cat>
          <c:val>
            <c:numRef>
              <c:f>Sheet1!$C$4:$T$4</c:f>
              <c:numCache>
                <c:formatCode>0.0%</c:formatCode>
                <c:ptCount val="17"/>
                <c:pt idx="0">
                  <c:v>2.3303880479974559E-3</c:v>
                </c:pt>
                <c:pt idx="1">
                  <c:v>-2.0109662945744233E-4</c:v>
                </c:pt>
                <c:pt idx="2">
                  <c:v>1.2474705819244258E-2</c:v>
                </c:pt>
                <c:pt idx="3">
                  <c:v>2.2987552621429597E-3</c:v>
                </c:pt>
                <c:pt idx="4">
                  <c:v>5.8117165749818067E-3</c:v>
                </c:pt>
                <c:pt idx="5">
                  <c:v>1.3950348149425196E-3</c:v>
                </c:pt>
                <c:pt idx="6">
                  <c:v>3.652056297481554E-3</c:v>
                </c:pt>
                <c:pt idx="7">
                  <c:v>-2.8444486084114873E-3</c:v>
                </c:pt>
                <c:pt idx="8">
                  <c:v>-6.005108311459173E-3</c:v>
                </c:pt>
                <c:pt idx="9">
                  <c:v>-3.3720220159443315E-3</c:v>
                </c:pt>
                <c:pt idx="10">
                  <c:v>4.4007749883776537E-3</c:v>
                </c:pt>
                <c:pt idx="11">
                  <c:v>-3.1618287778339971E-3</c:v>
                </c:pt>
                <c:pt idx="12">
                  <c:v>-4.022090883146312E-3</c:v>
                </c:pt>
                <c:pt idx="13">
                  <c:v>-7.0661633817084013E-3</c:v>
                </c:pt>
                <c:pt idx="14">
                  <c:v>-9.1880154793867463E-3</c:v>
                </c:pt>
                <c:pt idx="15">
                  <c:v>-9.9875395023191205E-3</c:v>
                </c:pt>
                <c:pt idx="16">
                  <c:v>-6.0285020660436617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796-4259-9B02-468D6F0C5014}"/>
            </c:ext>
          </c:extLst>
        </c:ser>
        <c:ser>
          <c:idx val="3"/>
          <c:order val="3"/>
          <c:tx>
            <c:strRef>
              <c:f>Sheet1!$B$5</c:f>
              <c:strCache>
                <c:ptCount val="1"/>
                <c:pt idx="0">
                  <c:v>Energy intensity of GDP</c:v>
                </c:pt>
              </c:strCache>
            </c:strRef>
          </c:tx>
          <c:spPr>
            <a:solidFill>
              <a:srgbClr val="6633C9"/>
            </a:solidFill>
            <a:ln>
              <a:solidFill>
                <a:sysClr val="window" lastClr="FFFFFF">
                  <a:lumMod val="75000"/>
                </a:sysClr>
              </a:solidFill>
            </a:ln>
          </c:spPr>
          <c:invertIfNegative val="0"/>
          <c:cat>
            <c:numRef>
              <c:f>Sheet1!$C$1:$T$1</c:f>
              <c:numCache>
                <c:formatCode>General</c:formatCode>
                <c:ptCount val="17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  <c:pt idx="16">
                  <c:v>2017</c:v>
                </c:pt>
              </c:numCache>
            </c:numRef>
          </c:cat>
          <c:val>
            <c:numRef>
              <c:f>Sheet1!$C$5:$T$5</c:f>
              <c:numCache>
                <c:formatCode>0.0%</c:formatCode>
                <c:ptCount val="17"/>
                <c:pt idx="0">
                  <c:v>-1.2283545260871165E-2</c:v>
                </c:pt>
                <c:pt idx="1">
                  <c:v>-5.4164163818987143E-3</c:v>
                </c:pt>
                <c:pt idx="2">
                  <c:v>-7.3840269314828788E-4</c:v>
                </c:pt>
                <c:pt idx="3">
                  <c:v>-2.4269833444570121E-3</c:v>
                </c:pt>
                <c:pt idx="4">
                  <c:v>-1.2110366467325995E-2</c:v>
                </c:pt>
                <c:pt idx="5">
                  <c:v>-2.2250311052900762E-2</c:v>
                </c:pt>
                <c:pt idx="6">
                  <c:v>-2.0274358815489224E-2</c:v>
                </c:pt>
                <c:pt idx="7">
                  <c:v>-1.6655443756998234E-2</c:v>
                </c:pt>
                <c:pt idx="8">
                  <c:v>-1.096276194874013E-2</c:v>
                </c:pt>
                <c:pt idx="9">
                  <c:v>-3.6322886306875413E-3</c:v>
                </c:pt>
                <c:pt idx="10">
                  <c:v>-1.5573578288211043E-2</c:v>
                </c:pt>
                <c:pt idx="11">
                  <c:v>-1.8383716125645266E-2</c:v>
                </c:pt>
                <c:pt idx="12">
                  <c:v>-1.4194200763232856E-2</c:v>
                </c:pt>
                <c:pt idx="13">
                  <c:v>-2.4167936396300327E-2</c:v>
                </c:pt>
                <c:pt idx="14">
                  <c:v>-2.3939759891309031E-2</c:v>
                </c:pt>
                <c:pt idx="15">
                  <c:v>-1.6611592644156681E-2</c:v>
                </c:pt>
                <c:pt idx="16">
                  <c:v>-1.704831503634085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796-4259-9B02-468D6F0C50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2"/>
        <c:overlap val="100"/>
        <c:axId val="253920000"/>
        <c:axId val="253921536"/>
      </c:barChart>
      <c:lineChart>
        <c:grouping val="standard"/>
        <c:varyColors val="0"/>
        <c:ser>
          <c:idx val="2"/>
          <c:order val="0"/>
          <c:tx>
            <c:strRef>
              <c:f>Sheet1!$B$2</c:f>
              <c:strCache>
                <c:ptCount val="1"/>
                <c:pt idx="0">
                  <c:v>GDP</c:v>
                </c:pt>
              </c:strCache>
            </c:strRef>
          </c:tx>
          <c:spPr>
            <a:ln w="28575">
              <a:solidFill>
                <a:srgbClr val="FF9900"/>
              </a:solidFill>
            </a:ln>
          </c:spPr>
          <c:marker>
            <c:symbol val="none"/>
          </c:marker>
          <c:cat>
            <c:numRef>
              <c:f>Sheet1!$C$1:$T$1</c:f>
              <c:numCache>
                <c:formatCode>General</c:formatCode>
                <c:ptCount val="17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  <c:pt idx="16">
                  <c:v>2017</c:v>
                </c:pt>
              </c:numCache>
            </c:numRef>
          </c:cat>
          <c:val>
            <c:numRef>
              <c:f>Sheet1!$C$2:$T$2</c:f>
              <c:numCache>
                <c:formatCode>0.0%</c:formatCode>
                <c:ptCount val="17"/>
                <c:pt idx="0">
                  <c:v>2.3815698712697175E-2</c:v>
                </c:pt>
                <c:pt idx="1">
                  <c:v>2.8417015291224423E-2</c:v>
                </c:pt>
                <c:pt idx="2">
                  <c:v>3.7289594358410172E-2</c:v>
                </c:pt>
                <c:pt idx="3">
                  <c:v>5.1793120402694237E-2</c:v>
                </c:pt>
                <c:pt idx="4">
                  <c:v>4.7698319018675495E-2</c:v>
                </c:pt>
                <c:pt idx="5">
                  <c:v>5.3430772589360798E-2</c:v>
                </c:pt>
                <c:pt idx="6">
                  <c:v>5.4175010849279781E-2</c:v>
                </c:pt>
                <c:pt idx="7">
                  <c:v>3.0115980085517302E-2</c:v>
                </c:pt>
                <c:pt idx="8">
                  <c:v>-5.1601129429391657E-3</c:v>
                </c:pt>
                <c:pt idx="9">
                  <c:v>5.3133665119497353E-2</c:v>
                </c:pt>
                <c:pt idx="10">
                  <c:v>4.0539961041580641E-2</c:v>
                </c:pt>
                <c:pt idx="11">
                  <c:v>3.3060581649509757E-2</c:v>
                </c:pt>
                <c:pt idx="12">
                  <c:v>3.3756008377700208E-2</c:v>
                </c:pt>
                <c:pt idx="13">
                  <c:v>3.4725324185467255E-2</c:v>
                </c:pt>
                <c:pt idx="14">
                  <c:v>3.2931935861026718E-2</c:v>
                </c:pt>
                <c:pt idx="15">
                  <c:v>3.2331822604172E-2</c:v>
                </c:pt>
                <c:pt idx="16">
                  <c:v>3.6731422290425364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796-4259-9B02-468D6F0C5014}"/>
            </c:ext>
          </c:extLst>
        </c:ser>
        <c:ser>
          <c:idx val="0"/>
          <c:order val="1"/>
          <c:tx>
            <c:strRef>
              <c:f>Sheet1!$B$3</c:f>
              <c:strCache>
                <c:ptCount val="1"/>
                <c:pt idx="0">
                  <c:v>CO2</c:v>
                </c:pt>
              </c:strCache>
            </c:strRef>
          </c:tx>
          <c:spPr>
            <a:ln w="28575">
              <a:solidFill>
                <a:sysClr val="window" lastClr="FFFFFF">
                  <a:lumMod val="65000"/>
                </a:sysClr>
              </a:solidFill>
              <a:prstDash val="solid"/>
            </a:ln>
          </c:spPr>
          <c:marker>
            <c:symbol val="none"/>
          </c:marke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3-9796-4259-9B02-468D6F0C5014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4-9796-4259-9B02-468D6F0C5014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5-9796-4259-9B02-468D6F0C5014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6-9796-4259-9B02-468D6F0C5014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07-9796-4259-9B02-468D6F0C5014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08-9796-4259-9B02-468D6F0C5014}"/>
              </c:ext>
            </c:extLst>
          </c:dPt>
          <c:cat>
            <c:numRef>
              <c:f>Sheet1!$C$1:$T$1</c:f>
              <c:numCache>
                <c:formatCode>General</c:formatCode>
                <c:ptCount val="17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  <c:pt idx="16">
                  <c:v>2017</c:v>
                </c:pt>
              </c:numCache>
            </c:numRef>
          </c:cat>
          <c:val>
            <c:numRef>
              <c:f>Sheet1!$C$3:$T$3</c:f>
              <c:numCache>
                <c:formatCode>0.0%</c:formatCode>
                <c:ptCount val="17"/>
                <c:pt idx="0">
                  <c:v>1.6373168815873695E-2</c:v>
                </c:pt>
                <c:pt idx="1">
                  <c:v>2.2640989502272779E-2</c:v>
                </c:pt>
                <c:pt idx="2">
                  <c:v>4.945398462323003E-2</c:v>
                </c:pt>
                <c:pt idx="3">
                  <c:v>4.877901582456845E-2</c:v>
                </c:pt>
                <c:pt idx="4">
                  <c:v>4.3877619636742748E-2</c:v>
                </c:pt>
                <c:pt idx="5">
                  <c:v>3.1428484381914812E-2</c:v>
                </c:pt>
                <c:pt idx="6">
                  <c:v>3.6574140526494991E-2</c:v>
                </c:pt>
                <c:pt idx="7">
                  <c:v>7.3178567151090945E-3</c:v>
                </c:pt>
                <c:pt idx="8">
                  <c:v>-1.9295413478610857E-2</c:v>
                </c:pt>
                <c:pt idx="9">
                  <c:v>4.5770088723290137E-2</c:v>
                </c:pt>
                <c:pt idx="10" formatCode="0.0000%">
                  <c:v>2.8842898478214751E-2</c:v>
                </c:pt>
                <c:pt idx="11">
                  <c:v>8.1008561930493439E-3</c:v>
                </c:pt>
                <c:pt idx="12">
                  <c:v>1.776460254882628E-2</c:v>
                </c:pt>
                <c:pt idx="13">
                  <c:v>2.5833149571032887E-3</c:v>
                </c:pt>
                <c:pt idx="14">
                  <c:v>-1.059598727066291E-3</c:v>
                </c:pt>
                <c:pt idx="15">
                  <c:v>2.297943349183873E-3</c:v>
                </c:pt>
                <c:pt idx="16">
                  <c:v>1.568861728947301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9796-4259-9B02-468D6F0C50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53920000"/>
        <c:axId val="253921536"/>
      </c:lineChart>
      <c:catAx>
        <c:axId val="2539200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ln w="9525">
            <a:solidFill>
              <a:srgbClr val="666666"/>
            </a:solidFill>
            <a:prstDash val="solid"/>
          </a:ln>
        </c:spPr>
        <c:txPr>
          <a:bodyPr rot="0" vert="horz"/>
          <a:lstStyle/>
          <a:p>
            <a:pPr algn="ctr">
              <a:defRPr sz="1300">
                <a:latin typeface="Univers for BP Light" panose="020B0403020202020204" pitchFamily="34" charset="0"/>
              </a:defRPr>
            </a:pPr>
            <a:endParaRPr lang="en-US"/>
          </a:p>
        </c:txPr>
        <c:crossAx val="253921536"/>
        <c:crosses val="autoZero"/>
        <c:auto val="1"/>
        <c:lblAlgn val="ctr"/>
        <c:lblOffset val="100"/>
        <c:tickLblSkip val="4"/>
        <c:tickMarkSkip val="17"/>
        <c:noMultiLvlLbl val="0"/>
      </c:catAx>
      <c:valAx>
        <c:axId val="253921536"/>
        <c:scaling>
          <c:orientation val="minMax"/>
          <c:max val="6.0000000000000012E-2"/>
          <c:min val="-6.0000000000000012E-2"/>
        </c:scaling>
        <c:delete val="0"/>
        <c:axPos val="l"/>
        <c:numFmt formatCode="0%" sourceLinked="0"/>
        <c:majorTickMark val="in"/>
        <c:minorTickMark val="none"/>
        <c:tickLblPos val="nextTo"/>
        <c:spPr>
          <a:ln w="9495">
            <a:solidFill>
              <a:srgbClr val="666666"/>
            </a:solidFill>
            <a:prstDash val="solid"/>
          </a:ln>
        </c:spPr>
        <c:txPr>
          <a:bodyPr rot="0" vert="horz"/>
          <a:lstStyle/>
          <a:p>
            <a:pPr algn="ctr">
              <a:defRPr sz="1300">
                <a:latin typeface="Univers for BP Light" panose="020B0403020202020204" pitchFamily="34" charset="0"/>
              </a:defRPr>
            </a:pPr>
            <a:endParaRPr lang="en-US"/>
          </a:p>
        </c:txPr>
        <c:crossAx val="253920000"/>
        <c:crosses val="autoZero"/>
        <c:crossBetween val="between"/>
        <c:majorUnit val="2.0000000000000004E-2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12555386112295838"/>
          <c:y val="0.64560123308275541"/>
          <c:w val="0.74624333433745094"/>
          <c:h val="0.2331329465917793"/>
        </c:manualLayout>
      </c:layout>
      <c:overlay val="0"/>
      <c:txPr>
        <a:bodyPr/>
        <a:lstStyle/>
        <a:p>
          <a:pPr>
            <a:defRPr sz="1300">
              <a:latin typeface="Univers for BP" panose="020B0603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 algn="ctr">
        <a:defRPr lang="en-GB" sz="1400" b="0" i="0" u="none" strike="noStrike" kern="1200" baseline="0">
          <a:solidFill>
            <a:srgbClr val="000000"/>
          </a:solidFill>
          <a:latin typeface="Univers 55"/>
          <a:ea typeface="Univers 55"/>
          <a:cs typeface="Univers 55"/>
        </a:defRPr>
      </a:pPr>
      <a:endParaRPr lang="en-US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5273251373778253E-2"/>
          <c:y val="5.3099184626914327E-2"/>
          <c:w val="0.82307239233286789"/>
          <c:h val="0.82823156394284425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solidFill>
                <a:srgbClr val="000099"/>
              </a:solidFill>
              <a:round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7F56-4218-A190-A5E90474CF72}"/>
              </c:ext>
            </c:extLst>
          </c:dPt>
          <c:dPt>
            <c:idx val="2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7F56-4218-A190-A5E90474CF72}"/>
              </c:ext>
            </c:extLst>
          </c:dPt>
          <c:dPt>
            <c:idx val="3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7F56-4218-A190-A5E90474CF72}"/>
              </c:ext>
            </c:extLst>
          </c:dPt>
          <c:dPt>
            <c:idx val="4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7F56-4218-A190-A5E90474CF72}"/>
              </c:ext>
            </c:extLst>
          </c:dPt>
          <c:dPt>
            <c:idx val="5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9-7F56-4218-A190-A5E90474CF72}"/>
              </c:ext>
            </c:extLst>
          </c:dPt>
          <c:dPt>
            <c:idx val="6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B-7F56-4218-A190-A5E90474CF72}"/>
              </c:ext>
            </c:extLst>
          </c:dPt>
          <c:dPt>
            <c:idx val="7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D-7F56-4218-A190-A5E90474CF72}"/>
              </c:ext>
            </c:extLst>
          </c:dPt>
          <c:dPt>
            <c:idx val="8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F-7F56-4218-A190-A5E90474CF72}"/>
              </c:ext>
            </c:extLst>
          </c:dPt>
          <c:dPt>
            <c:idx val="9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1-7F56-4218-A190-A5E90474CF72}"/>
              </c:ext>
            </c:extLst>
          </c:dPt>
          <c:dPt>
            <c:idx val="10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3-7F56-4218-A190-A5E90474CF72}"/>
              </c:ext>
            </c:extLst>
          </c:dPt>
          <c:dPt>
            <c:idx val="11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5-7F56-4218-A190-A5E90474CF72}"/>
              </c:ext>
            </c:extLst>
          </c:dPt>
          <c:dPt>
            <c:idx val="12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7-7F56-4218-A190-A5E90474CF72}"/>
              </c:ext>
            </c:extLst>
          </c:dPt>
          <c:dPt>
            <c:idx val="13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9-7F56-4218-A190-A5E90474CF72}"/>
              </c:ext>
            </c:extLst>
          </c:dPt>
          <c:dPt>
            <c:idx val="14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B-7F56-4218-A190-A5E90474CF72}"/>
              </c:ext>
            </c:extLst>
          </c:dPt>
          <c:dPt>
            <c:idx val="15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D-7F56-4218-A190-A5E90474CF72}"/>
              </c:ext>
            </c:extLst>
          </c:dPt>
          <c:dPt>
            <c:idx val="16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1F-7F56-4218-A190-A5E90474CF72}"/>
              </c:ext>
            </c:extLst>
          </c:dPt>
          <c:dPt>
            <c:idx val="17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1-7F56-4218-A190-A5E90474CF72}"/>
              </c:ext>
            </c:extLst>
          </c:dPt>
          <c:dPt>
            <c:idx val="18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3-7F56-4218-A190-A5E90474CF72}"/>
              </c:ext>
            </c:extLst>
          </c:dPt>
          <c:dPt>
            <c:idx val="19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5-7F56-4218-A190-A5E90474CF72}"/>
              </c:ext>
            </c:extLst>
          </c:dPt>
          <c:dPt>
            <c:idx val="20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7-7F56-4218-A190-A5E90474CF72}"/>
              </c:ext>
            </c:extLst>
          </c:dPt>
          <c:dPt>
            <c:idx val="21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9-7F56-4218-A190-A5E90474CF72}"/>
              </c:ext>
            </c:extLst>
          </c:dPt>
          <c:dPt>
            <c:idx val="22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B-7F56-4218-A190-A5E90474CF72}"/>
              </c:ext>
            </c:extLst>
          </c:dPt>
          <c:dPt>
            <c:idx val="23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D-7F56-4218-A190-A5E90474CF72}"/>
              </c:ext>
            </c:extLst>
          </c:dPt>
          <c:dPt>
            <c:idx val="24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2F-7F56-4218-A190-A5E90474CF72}"/>
              </c:ext>
            </c:extLst>
          </c:dPt>
          <c:dPt>
            <c:idx val="25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31-7F56-4218-A190-A5E90474CF72}"/>
              </c:ext>
            </c:extLst>
          </c:dPt>
          <c:dPt>
            <c:idx val="26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33-7F56-4218-A190-A5E90474CF72}"/>
              </c:ext>
            </c:extLst>
          </c:dPt>
          <c:dPt>
            <c:idx val="27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35-7F56-4218-A190-A5E90474CF72}"/>
              </c:ext>
            </c:extLst>
          </c:dPt>
          <c:dPt>
            <c:idx val="28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37-7F56-4218-A190-A5E90474CF72}"/>
              </c:ext>
            </c:extLst>
          </c:dPt>
          <c:dPt>
            <c:idx val="29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39-7F56-4218-A190-A5E90474CF72}"/>
              </c:ext>
            </c:extLst>
          </c:dPt>
          <c:dPt>
            <c:idx val="30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3B-7F56-4218-A190-A5E90474CF72}"/>
              </c:ext>
            </c:extLst>
          </c:dPt>
          <c:dPt>
            <c:idx val="31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3D-7F56-4218-A190-A5E90474CF72}"/>
              </c:ext>
            </c:extLst>
          </c:dPt>
          <c:dPt>
            <c:idx val="32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3F-7F56-4218-A190-A5E90474CF72}"/>
              </c:ext>
            </c:extLst>
          </c:dPt>
          <c:dPt>
            <c:idx val="33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41-7F56-4218-A190-A5E90474CF72}"/>
              </c:ext>
            </c:extLst>
          </c:dPt>
          <c:dPt>
            <c:idx val="34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43-7F56-4218-A190-A5E90474CF72}"/>
              </c:ext>
            </c:extLst>
          </c:dPt>
          <c:dPt>
            <c:idx val="35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45-7F56-4218-A190-A5E90474CF72}"/>
              </c:ext>
            </c:extLst>
          </c:dPt>
          <c:dPt>
            <c:idx val="36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47-7F56-4218-A190-A5E90474CF72}"/>
              </c:ext>
            </c:extLst>
          </c:dPt>
          <c:dPt>
            <c:idx val="37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49-7F56-4218-A190-A5E90474CF72}"/>
              </c:ext>
            </c:extLst>
          </c:dPt>
          <c:dPt>
            <c:idx val="38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4B-7F56-4218-A190-A5E90474CF72}"/>
              </c:ext>
            </c:extLst>
          </c:dPt>
          <c:dPt>
            <c:idx val="39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4D-7F56-4218-A190-A5E90474CF72}"/>
              </c:ext>
            </c:extLst>
          </c:dPt>
          <c:dPt>
            <c:idx val="40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4F-7F56-4218-A190-A5E90474CF72}"/>
              </c:ext>
            </c:extLst>
          </c:dPt>
          <c:dPt>
            <c:idx val="41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51-7F56-4218-A190-A5E90474CF72}"/>
              </c:ext>
            </c:extLst>
          </c:dPt>
          <c:dPt>
            <c:idx val="42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53-7F56-4218-A190-A5E90474CF72}"/>
              </c:ext>
            </c:extLst>
          </c:dPt>
          <c:dPt>
            <c:idx val="43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55-7F56-4218-A190-A5E90474CF72}"/>
              </c:ext>
            </c:extLst>
          </c:dPt>
          <c:dPt>
            <c:idx val="44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57-7F56-4218-A190-A5E90474CF72}"/>
              </c:ext>
            </c:extLst>
          </c:dPt>
          <c:dPt>
            <c:idx val="45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59-7F56-4218-A190-A5E90474CF72}"/>
              </c:ext>
            </c:extLst>
          </c:dPt>
          <c:dPt>
            <c:idx val="46"/>
            <c:marker>
              <c:symbol val="none"/>
            </c:marker>
            <c:bubble3D val="0"/>
            <c:spPr>
              <a:ln w="28575" cap="rnd">
                <a:solidFill>
                  <a:schemeClr val="tx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5B-7F56-4218-A190-A5E90474CF72}"/>
              </c:ext>
            </c:extLst>
          </c:dPt>
          <c:dPt>
            <c:idx val="47"/>
            <c:marker>
              <c:symbol val="diamond"/>
              <c:size val="7"/>
              <c:spPr>
                <a:solidFill>
                  <a:srgbClr val="000099"/>
                </a:solidFill>
                <a:ln w="9525">
                  <a:solidFill>
                    <a:srgbClr val="000099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C-7F56-4218-A190-A5E90474CF72}"/>
              </c:ext>
            </c:extLst>
          </c:dPt>
          <c:dPt>
            <c:idx val="48"/>
            <c:marker>
              <c:symbol val="diamond"/>
              <c:size val="7"/>
              <c:spPr>
                <a:solidFill>
                  <a:srgbClr val="000099"/>
                </a:solidFill>
                <a:ln w="9525">
                  <a:solidFill>
                    <a:srgbClr val="000099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D-7F56-4218-A190-A5E90474CF72}"/>
              </c:ext>
            </c:extLst>
          </c:dPt>
          <c:dPt>
            <c:idx val="49"/>
            <c:marker>
              <c:symbol val="diamond"/>
              <c:size val="7"/>
              <c:spPr>
                <a:solidFill>
                  <a:srgbClr val="000099"/>
                </a:solidFill>
                <a:ln w="9525">
                  <a:solidFill>
                    <a:srgbClr val="000099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E-7F56-4218-A190-A5E90474CF72}"/>
              </c:ext>
            </c:extLst>
          </c:dPt>
          <c:dPt>
            <c:idx val="50"/>
            <c:marker>
              <c:symbol val="diamond"/>
              <c:size val="7"/>
              <c:spPr>
                <a:solidFill>
                  <a:srgbClr val="000099"/>
                </a:solidFill>
                <a:ln w="9525">
                  <a:solidFill>
                    <a:srgbClr val="000099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5F-7F56-4218-A190-A5E90474CF72}"/>
              </c:ext>
            </c:extLst>
          </c:dPt>
          <c:dPt>
            <c:idx val="51"/>
            <c:marker>
              <c:symbol val="diamond"/>
              <c:size val="7"/>
              <c:spPr>
                <a:solidFill>
                  <a:srgbClr val="000099"/>
                </a:solidFill>
                <a:ln w="9525">
                  <a:solidFill>
                    <a:srgbClr val="000099"/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0-7F56-4218-A190-A5E90474CF72}"/>
              </c:ext>
            </c:extLst>
          </c:dPt>
          <c:xVal>
            <c:numRef>
              <c:f>Sheet1!$A$2:$A$53</c:f>
              <c:numCache>
                <c:formatCode>General</c:formatCode>
                <c:ptCount val="52"/>
                <c:pt idx="0">
                  <c:v>1970</c:v>
                </c:pt>
                <c:pt idx="1">
                  <c:v>1971</c:v>
                </c:pt>
                <c:pt idx="2">
                  <c:v>1972</c:v>
                </c:pt>
                <c:pt idx="3">
                  <c:v>1973</c:v>
                </c:pt>
                <c:pt idx="4">
                  <c:v>1974</c:v>
                </c:pt>
                <c:pt idx="5">
                  <c:v>1975</c:v>
                </c:pt>
                <c:pt idx="6">
                  <c:v>1976</c:v>
                </c:pt>
                <c:pt idx="7">
                  <c:v>1977</c:v>
                </c:pt>
                <c:pt idx="8">
                  <c:v>1978</c:v>
                </c:pt>
                <c:pt idx="9">
                  <c:v>1979</c:v>
                </c:pt>
                <c:pt idx="10">
                  <c:v>1980</c:v>
                </c:pt>
                <c:pt idx="11">
                  <c:v>1981</c:v>
                </c:pt>
                <c:pt idx="12">
                  <c:v>1982</c:v>
                </c:pt>
                <c:pt idx="13">
                  <c:v>1983</c:v>
                </c:pt>
                <c:pt idx="14">
                  <c:v>1984</c:v>
                </c:pt>
                <c:pt idx="15">
                  <c:v>1985</c:v>
                </c:pt>
                <c:pt idx="16">
                  <c:v>1986</c:v>
                </c:pt>
                <c:pt idx="17">
                  <c:v>1987</c:v>
                </c:pt>
                <c:pt idx="18">
                  <c:v>1988</c:v>
                </c:pt>
                <c:pt idx="19">
                  <c:v>1989</c:v>
                </c:pt>
                <c:pt idx="20">
                  <c:v>1990</c:v>
                </c:pt>
                <c:pt idx="21">
                  <c:v>1991</c:v>
                </c:pt>
                <c:pt idx="22">
                  <c:v>1992</c:v>
                </c:pt>
                <c:pt idx="23">
                  <c:v>1993</c:v>
                </c:pt>
                <c:pt idx="24">
                  <c:v>1994</c:v>
                </c:pt>
                <c:pt idx="25">
                  <c:v>1995</c:v>
                </c:pt>
                <c:pt idx="26">
                  <c:v>1996</c:v>
                </c:pt>
                <c:pt idx="27">
                  <c:v>1997</c:v>
                </c:pt>
                <c:pt idx="28">
                  <c:v>1998</c:v>
                </c:pt>
                <c:pt idx="29">
                  <c:v>1999</c:v>
                </c:pt>
                <c:pt idx="30">
                  <c:v>2000</c:v>
                </c:pt>
                <c:pt idx="31">
                  <c:v>2001</c:v>
                </c:pt>
                <c:pt idx="32">
                  <c:v>2002</c:v>
                </c:pt>
                <c:pt idx="33">
                  <c:v>2003</c:v>
                </c:pt>
                <c:pt idx="34">
                  <c:v>2004</c:v>
                </c:pt>
                <c:pt idx="35">
                  <c:v>2005</c:v>
                </c:pt>
                <c:pt idx="36">
                  <c:v>2006</c:v>
                </c:pt>
                <c:pt idx="37">
                  <c:v>2007</c:v>
                </c:pt>
                <c:pt idx="38">
                  <c:v>2008</c:v>
                </c:pt>
                <c:pt idx="39">
                  <c:v>2009</c:v>
                </c:pt>
                <c:pt idx="40">
                  <c:v>2010</c:v>
                </c:pt>
                <c:pt idx="41">
                  <c:v>2011</c:v>
                </c:pt>
                <c:pt idx="42">
                  <c:v>2012</c:v>
                </c:pt>
                <c:pt idx="43">
                  <c:v>2013</c:v>
                </c:pt>
                <c:pt idx="44">
                  <c:v>2014</c:v>
                </c:pt>
                <c:pt idx="45">
                  <c:v>2015</c:v>
                </c:pt>
                <c:pt idx="46">
                  <c:v>2016</c:v>
                </c:pt>
                <c:pt idx="47">
                  <c:v>2020</c:v>
                </c:pt>
                <c:pt idx="48">
                  <c:v>2025</c:v>
                </c:pt>
                <c:pt idx="49">
                  <c:v>2030</c:v>
                </c:pt>
                <c:pt idx="50">
                  <c:v>2035</c:v>
                </c:pt>
                <c:pt idx="51">
                  <c:v>2040</c:v>
                </c:pt>
              </c:numCache>
            </c:numRef>
          </c:xVal>
          <c:yVal>
            <c:numRef>
              <c:f>Sheet1!$B$2:$B$53</c:f>
              <c:numCache>
                <c:formatCode>General</c:formatCode>
                <c:ptCount val="52"/>
                <c:pt idx="0">
                  <c:v>14481.99226151</c:v>
                </c:pt>
                <c:pt idx="1">
                  <c:v>14978.385490730001</c:v>
                </c:pt>
                <c:pt idx="2">
                  <c:v>15685.482786909999</c:v>
                </c:pt>
                <c:pt idx="3">
                  <c:v>16537.97062901</c:v>
                </c:pt>
                <c:pt idx="4">
                  <c:v>16445.592691669997</c:v>
                </c:pt>
                <c:pt idx="5">
                  <c:v>16459.585439980001</c:v>
                </c:pt>
                <c:pt idx="6">
                  <c:v>17347.432461429999</c:v>
                </c:pt>
                <c:pt idx="7">
                  <c:v>17894.510618159999</c:v>
                </c:pt>
                <c:pt idx="8">
                  <c:v>18182.15251561</c:v>
                </c:pt>
                <c:pt idx="9">
                  <c:v>18774.557338430001</c:v>
                </c:pt>
                <c:pt idx="10">
                  <c:v>18613.4075882</c:v>
                </c:pt>
                <c:pt idx="11">
                  <c:v>18378.566269800001</c:v>
                </c:pt>
                <c:pt idx="12">
                  <c:v>18193.178157099999</c:v>
                </c:pt>
                <c:pt idx="13">
                  <c:v>18356.355206299999</c:v>
                </c:pt>
                <c:pt idx="14">
                  <c:v>19043.286905000001</c:v>
                </c:pt>
                <c:pt idx="15">
                  <c:v>19475.045451899998</c:v>
                </c:pt>
                <c:pt idx="16">
                  <c:v>19808.763922100003</c:v>
                </c:pt>
                <c:pt idx="17">
                  <c:v>20420.662178199997</c:v>
                </c:pt>
                <c:pt idx="18">
                  <c:v>21103.302027400001</c:v>
                </c:pt>
                <c:pt idx="19">
                  <c:v>21512.315810100001</c:v>
                </c:pt>
                <c:pt idx="20">
                  <c:v>21598.222592900001</c:v>
                </c:pt>
                <c:pt idx="21">
                  <c:v>21609.079699099995</c:v>
                </c:pt>
                <c:pt idx="22">
                  <c:v>21685.576937800004</c:v>
                </c:pt>
                <c:pt idx="23">
                  <c:v>21718.889776999997</c:v>
                </c:pt>
                <c:pt idx="24">
                  <c:v>21961.3588691</c:v>
                </c:pt>
                <c:pt idx="25">
                  <c:v>22220.211350400001</c:v>
                </c:pt>
                <c:pt idx="26">
                  <c:v>22849.546730499998</c:v>
                </c:pt>
                <c:pt idx="27">
                  <c:v>23055.931546999996</c:v>
                </c:pt>
                <c:pt idx="28">
                  <c:v>23130.264635999993</c:v>
                </c:pt>
                <c:pt idx="29">
                  <c:v>23460.830858999998</c:v>
                </c:pt>
                <c:pt idx="30">
                  <c:v>24003.372398</c:v>
                </c:pt>
                <c:pt idx="31">
                  <c:v>24340.423352999998</c:v>
                </c:pt>
                <c:pt idx="32">
                  <c:v>24880.466564999999</c:v>
                </c:pt>
                <c:pt idx="33">
                  <c:v>26115.118173000003</c:v>
                </c:pt>
                <c:pt idx="34">
                  <c:v>27436.590644000004</c:v>
                </c:pt>
                <c:pt idx="35">
                  <c:v>28549.805552999998</c:v>
                </c:pt>
                <c:pt idx="36">
                  <c:v>29430.087244000002</c:v>
                </c:pt>
                <c:pt idx="37">
                  <c:v>30481.874179999999</c:v>
                </c:pt>
                <c:pt idx="38">
                  <c:v>30800.378884000005</c:v>
                </c:pt>
                <c:pt idx="39">
                  <c:v>30145.294150000002</c:v>
                </c:pt>
                <c:pt idx="40">
                  <c:v>31528.396478999999</c:v>
                </c:pt>
                <c:pt idx="41">
                  <c:v>32413.035040999999</c:v>
                </c:pt>
                <c:pt idx="42">
                  <c:v>32740.195563000001</c:v>
                </c:pt>
                <c:pt idx="43">
                  <c:v>33226.122642999995</c:v>
                </c:pt>
                <c:pt idx="44">
                  <c:v>33342.542867000004</c:v>
                </c:pt>
                <c:pt idx="45">
                  <c:v>33302.822420968412</c:v>
                </c:pt>
                <c:pt idx="46" formatCode="0">
                  <c:v>33430.93901596841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61-7F56-4218-A190-A5E90474CF7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Evolving transition</c:v>
                </c:pt>
              </c:strCache>
            </c:strRef>
          </c:tx>
          <c:spPr>
            <a:ln w="28575" cap="rnd">
              <a:solidFill>
                <a:srgbClr val="000099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rgbClr val="000099"/>
              </a:solidFill>
              <a:ln w="9525">
                <a:noFill/>
              </a:ln>
              <a:effectLst/>
            </c:spPr>
          </c:marker>
          <c:dPt>
            <c:idx val="46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62-7F56-4218-A190-A5E90474CF72}"/>
              </c:ext>
            </c:extLst>
          </c:dPt>
          <c:dPt>
            <c:idx val="47"/>
            <c:marker>
              <c:symbol val="circle"/>
              <c:size val="7"/>
              <c:spPr>
                <a:solidFill>
                  <a:srgbClr val="000099"/>
                </a:solidFill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3-7F56-4218-A190-A5E90474CF72}"/>
              </c:ext>
            </c:extLst>
          </c:dPt>
          <c:dPt>
            <c:idx val="48"/>
            <c:marker>
              <c:symbol val="circle"/>
              <c:size val="7"/>
              <c:spPr>
                <a:solidFill>
                  <a:srgbClr val="000099"/>
                </a:solidFill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4-7F56-4218-A190-A5E90474CF72}"/>
              </c:ext>
            </c:extLst>
          </c:dPt>
          <c:dPt>
            <c:idx val="49"/>
            <c:marker>
              <c:symbol val="circle"/>
              <c:size val="7"/>
              <c:spPr>
                <a:solidFill>
                  <a:srgbClr val="000099"/>
                </a:solidFill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5-7F56-4218-A190-A5E90474CF72}"/>
              </c:ext>
            </c:extLst>
          </c:dPt>
          <c:dPt>
            <c:idx val="50"/>
            <c:marker>
              <c:symbol val="circle"/>
              <c:size val="7"/>
              <c:spPr>
                <a:solidFill>
                  <a:srgbClr val="000099"/>
                </a:solidFill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6-7F56-4218-A190-A5E90474CF72}"/>
              </c:ext>
            </c:extLst>
          </c:dPt>
          <c:dPt>
            <c:idx val="51"/>
            <c:marker>
              <c:symbol val="circle"/>
              <c:size val="7"/>
              <c:spPr>
                <a:solidFill>
                  <a:srgbClr val="000099"/>
                </a:solidFill>
                <a:ln w="9525">
                  <a:noFill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67-7F56-4218-A190-A5E90474CF72}"/>
              </c:ext>
            </c:extLst>
          </c:dPt>
          <c:xVal>
            <c:numRef>
              <c:f>Sheet1!$A$2:$A$53</c:f>
              <c:numCache>
                <c:formatCode>General</c:formatCode>
                <c:ptCount val="52"/>
                <c:pt idx="0">
                  <c:v>1970</c:v>
                </c:pt>
                <c:pt idx="1">
                  <c:v>1971</c:v>
                </c:pt>
                <c:pt idx="2">
                  <c:v>1972</c:v>
                </c:pt>
                <c:pt idx="3">
                  <c:v>1973</c:v>
                </c:pt>
                <c:pt idx="4">
                  <c:v>1974</c:v>
                </c:pt>
                <c:pt idx="5">
                  <c:v>1975</c:v>
                </c:pt>
                <c:pt idx="6">
                  <c:v>1976</c:v>
                </c:pt>
                <c:pt idx="7">
                  <c:v>1977</c:v>
                </c:pt>
                <c:pt idx="8">
                  <c:v>1978</c:v>
                </c:pt>
                <c:pt idx="9">
                  <c:v>1979</c:v>
                </c:pt>
                <c:pt idx="10">
                  <c:v>1980</c:v>
                </c:pt>
                <c:pt idx="11">
                  <c:v>1981</c:v>
                </c:pt>
                <c:pt idx="12">
                  <c:v>1982</c:v>
                </c:pt>
                <c:pt idx="13">
                  <c:v>1983</c:v>
                </c:pt>
                <c:pt idx="14">
                  <c:v>1984</c:v>
                </c:pt>
                <c:pt idx="15">
                  <c:v>1985</c:v>
                </c:pt>
                <c:pt idx="16">
                  <c:v>1986</c:v>
                </c:pt>
                <c:pt idx="17">
                  <c:v>1987</c:v>
                </c:pt>
                <c:pt idx="18">
                  <c:v>1988</c:v>
                </c:pt>
                <c:pt idx="19">
                  <c:v>1989</c:v>
                </c:pt>
                <c:pt idx="20">
                  <c:v>1990</c:v>
                </c:pt>
                <c:pt idx="21">
                  <c:v>1991</c:v>
                </c:pt>
                <c:pt idx="22">
                  <c:v>1992</c:v>
                </c:pt>
                <c:pt idx="23">
                  <c:v>1993</c:v>
                </c:pt>
                <c:pt idx="24">
                  <c:v>1994</c:v>
                </c:pt>
                <c:pt idx="25">
                  <c:v>1995</c:v>
                </c:pt>
                <c:pt idx="26">
                  <c:v>1996</c:v>
                </c:pt>
                <c:pt idx="27">
                  <c:v>1997</c:v>
                </c:pt>
                <c:pt idx="28">
                  <c:v>1998</c:v>
                </c:pt>
                <c:pt idx="29">
                  <c:v>1999</c:v>
                </c:pt>
                <c:pt idx="30">
                  <c:v>2000</c:v>
                </c:pt>
                <c:pt idx="31">
                  <c:v>2001</c:v>
                </c:pt>
                <c:pt idx="32">
                  <c:v>2002</c:v>
                </c:pt>
                <c:pt idx="33">
                  <c:v>2003</c:v>
                </c:pt>
                <c:pt idx="34">
                  <c:v>2004</c:v>
                </c:pt>
                <c:pt idx="35">
                  <c:v>2005</c:v>
                </c:pt>
                <c:pt idx="36">
                  <c:v>2006</c:v>
                </c:pt>
                <c:pt idx="37">
                  <c:v>2007</c:v>
                </c:pt>
                <c:pt idx="38">
                  <c:v>2008</c:v>
                </c:pt>
                <c:pt idx="39">
                  <c:v>2009</c:v>
                </c:pt>
                <c:pt idx="40">
                  <c:v>2010</c:v>
                </c:pt>
                <c:pt idx="41">
                  <c:v>2011</c:v>
                </c:pt>
                <c:pt idx="42">
                  <c:v>2012</c:v>
                </c:pt>
                <c:pt idx="43">
                  <c:v>2013</c:v>
                </c:pt>
                <c:pt idx="44">
                  <c:v>2014</c:v>
                </c:pt>
                <c:pt idx="45">
                  <c:v>2015</c:v>
                </c:pt>
                <c:pt idx="46">
                  <c:v>2016</c:v>
                </c:pt>
                <c:pt idx="47">
                  <c:v>2020</c:v>
                </c:pt>
                <c:pt idx="48">
                  <c:v>2025</c:v>
                </c:pt>
                <c:pt idx="49">
                  <c:v>2030</c:v>
                </c:pt>
                <c:pt idx="50">
                  <c:v>2035</c:v>
                </c:pt>
                <c:pt idx="51">
                  <c:v>2040</c:v>
                </c:pt>
              </c:numCache>
            </c:numRef>
          </c:xVal>
          <c:yVal>
            <c:numRef>
              <c:f>Sheet1!$C$2:$C$53</c:f>
              <c:numCache>
                <c:formatCode>General</c:formatCode>
                <c:ptCount val="52"/>
                <c:pt idx="46" formatCode="0">
                  <c:v>33430.939015968419</c:v>
                </c:pt>
                <c:pt idx="47" formatCode="0">
                  <c:v>34502.219796947727</c:v>
                </c:pt>
                <c:pt idx="48" formatCode="0">
                  <c:v>36031.434476732567</c:v>
                </c:pt>
                <c:pt idx="49" formatCode="0">
                  <c:v>36667.370935337844</c:v>
                </c:pt>
                <c:pt idx="50" formatCode="0">
                  <c:v>36949.683569448018</c:v>
                </c:pt>
                <c:pt idx="51" formatCode="0">
                  <c:v>36775.92052578175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68-7F56-4218-A190-A5E90474CF72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Low carbon (LC)</c:v>
                </c:pt>
              </c:strCache>
            </c:strRef>
          </c:tx>
          <c:spPr>
            <a:ln w="28575" cap="rnd">
              <a:solidFill>
                <a:srgbClr val="FF6600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rgbClr val="FF6600"/>
              </a:solidFill>
              <a:ln w="9525">
                <a:noFill/>
              </a:ln>
              <a:effectLst/>
            </c:spPr>
          </c:marker>
          <c:dPt>
            <c:idx val="46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69-7F56-4218-A190-A5E90474CF72}"/>
              </c:ext>
            </c:extLst>
          </c:dPt>
          <c:xVal>
            <c:numRef>
              <c:f>Sheet1!$A$2:$A$53</c:f>
              <c:numCache>
                <c:formatCode>General</c:formatCode>
                <c:ptCount val="52"/>
                <c:pt idx="0">
                  <c:v>1970</c:v>
                </c:pt>
                <c:pt idx="1">
                  <c:v>1971</c:v>
                </c:pt>
                <c:pt idx="2">
                  <c:v>1972</c:v>
                </c:pt>
                <c:pt idx="3">
                  <c:v>1973</c:v>
                </c:pt>
                <c:pt idx="4">
                  <c:v>1974</c:v>
                </c:pt>
                <c:pt idx="5">
                  <c:v>1975</c:v>
                </c:pt>
                <c:pt idx="6">
                  <c:v>1976</c:v>
                </c:pt>
                <c:pt idx="7">
                  <c:v>1977</c:v>
                </c:pt>
                <c:pt idx="8">
                  <c:v>1978</c:v>
                </c:pt>
                <c:pt idx="9">
                  <c:v>1979</c:v>
                </c:pt>
                <c:pt idx="10">
                  <c:v>1980</c:v>
                </c:pt>
                <c:pt idx="11">
                  <c:v>1981</c:v>
                </c:pt>
                <c:pt idx="12">
                  <c:v>1982</c:v>
                </c:pt>
                <c:pt idx="13">
                  <c:v>1983</c:v>
                </c:pt>
                <c:pt idx="14">
                  <c:v>1984</c:v>
                </c:pt>
                <c:pt idx="15">
                  <c:v>1985</c:v>
                </c:pt>
                <c:pt idx="16">
                  <c:v>1986</c:v>
                </c:pt>
                <c:pt idx="17">
                  <c:v>1987</c:v>
                </c:pt>
                <c:pt idx="18">
                  <c:v>1988</c:v>
                </c:pt>
                <c:pt idx="19">
                  <c:v>1989</c:v>
                </c:pt>
                <c:pt idx="20">
                  <c:v>1990</c:v>
                </c:pt>
                <c:pt idx="21">
                  <c:v>1991</c:v>
                </c:pt>
                <c:pt idx="22">
                  <c:v>1992</c:v>
                </c:pt>
                <c:pt idx="23">
                  <c:v>1993</c:v>
                </c:pt>
                <c:pt idx="24">
                  <c:v>1994</c:v>
                </c:pt>
                <c:pt idx="25">
                  <c:v>1995</c:v>
                </c:pt>
                <c:pt idx="26">
                  <c:v>1996</c:v>
                </c:pt>
                <c:pt idx="27">
                  <c:v>1997</c:v>
                </c:pt>
                <c:pt idx="28">
                  <c:v>1998</c:v>
                </c:pt>
                <c:pt idx="29">
                  <c:v>1999</c:v>
                </c:pt>
                <c:pt idx="30">
                  <c:v>2000</c:v>
                </c:pt>
                <c:pt idx="31">
                  <c:v>2001</c:v>
                </c:pt>
                <c:pt idx="32">
                  <c:v>2002</c:v>
                </c:pt>
                <c:pt idx="33">
                  <c:v>2003</c:v>
                </c:pt>
                <c:pt idx="34">
                  <c:v>2004</c:v>
                </c:pt>
                <c:pt idx="35">
                  <c:v>2005</c:v>
                </c:pt>
                <c:pt idx="36">
                  <c:v>2006</c:v>
                </c:pt>
                <c:pt idx="37">
                  <c:v>2007</c:v>
                </c:pt>
                <c:pt idx="38">
                  <c:v>2008</c:v>
                </c:pt>
                <c:pt idx="39">
                  <c:v>2009</c:v>
                </c:pt>
                <c:pt idx="40">
                  <c:v>2010</c:v>
                </c:pt>
                <c:pt idx="41">
                  <c:v>2011</c:v>
                </c:pt>
                <c:pt idx="42">
                  <c:v>2012</c:v>
                </c:pt>
                <c:pt idx="43">
                  <c:v>2013</c:v>
                </c:pt>
                <c:pt idx="44">
                  <c:v>2014</c:v>
                </c:pt>
                <c:pt idx="45">
                  <c:v>2015</c:v>
                </c:pt>
                <c:pt idx="46">
                  <c:v>2016</c:v>
                </c:pt>
                <c:pt idx="47">
                  <c:v>2020</c:v>
                </c:pt>
                <c:pt idx="48">
                  <c:v>2025</c:v>
                </c:pt>
                <c:pt idx="49">
                  <c:v>2030</c:v>
                </c:pt>
                <c:pt idx="50">
                  <c:v>2035</c:v>
                </c:pt>
                <c:pt idx="51">
                  <c:v>2040</c:v>
                </c:pt>
              </c:numCache>
            </c:numRef>
          </c:xVal>
          <c:yVal>
            <c:numRef>
              <c:f>Sheet1!$E$2:$E$53</c:f>
              <c:numCache>
                <c:formatCode>General</c:formatCode>
                <c:ptCount val="52"/>
                <c:pt idx="46" formatCode="0">
                  <c:v>33430.939015968419</c:v>
                </c:pt>
                <c:pt idx="47" formatCode="0">
                  <c:v>32022.852265258603</c:v>
                </c:pt>
                <c:pt idx="48" formatCode="0">
                  <c:v>29441.285245401905</c:v>
                </c:pt>
                <c:pt idx="49" formatCode="0">
                  <c:v>26300.578347860635</c:v>
                </c:pt>
                <c:pt idx="50" formatCode="0">
                  <c:v>22073.203323143221</c:v>
                </c:pt>
                <c:pt idx="51" formatCode="0">
                  <c:v>17629.742005368964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6A-7F56-4218-A190-A5E90474CF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05616768"/>
        <c:axId val="705615456"/>
      </c:scatterChart>
      <c:valAx>
        <c:axId val="705616768"/>
        <c:scaling>
          <c:orientation val="minMax"/>
          <c:max val="2040"/>
          <c:min val="1970"/>
        </c:scaling>
        <c:delete val="0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66666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GB" sz="1300" b="0" i="0" u="none" strike="noStrike" kern="1200" baseline="0">
                <a:solidFill>
                  <a:srgbClr val="000000"/>
                </a:solidFill>
                <a:latin typeface="Univers for BP Light" panose="020B0403020202020204" pitchFamily="34" charset="0"/>
                <a:ea typeface="Univers 55"/>
                <a:cs typeface="Univers 55"/>
              </a:defRPr>
            </a:pPr>
            <a:endParaRPr lang="en-US"/>
          </a:p>
        </c:txPr>
        <c:crossAx val="705615456"/>
        <c:crosses val="autoZero"/>
        <c:crossBetween val="midCat"/>
        <c:majorUnit val="10"/>
      </c:valAx>
      <c:valAx>
        <c:axId val="705615456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in"/>
        <c:minorTickMark val="none"/>
        <c:tickLblPos val="nextTo"/>
        <c:spPr>
          <a:noFill/>
          <a:ln w="9525" cap="flat" cmpd="sng" algn="ctr">
            <a:solidFill>
              <a:srgbClr val="66666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GB" sz="1300" b="0" i="0" u="none" strike="noStrike" kern="1200" baseline="0">
                <a:solidFill>
                  <a:srgbClr val="000000"/>
                </a:solidFill>
                <a:latin typeface="Univers for BP Light" panose="020B0403020202020204" pitchFamily="34" charset="0"/>
                <a:ea typeface="Univers 55"/>
                <a:cs typeface="Univers 55"/>
              </a:defRPr>
            </a:pPr>
            <a:endParaRPr lang="en-US"/>
          </a:p>
        </c:txPr>
        <c:crossAx val="705616768"/>
        <c:crosses val="autoZero"/>
        <c:crossBetween val="midCat"/>
        <c:majorUnit val="10000"/>
        <c:dispUnits>
          <c:builtInUnit val="thousands"/>
        </c:dispUnits>
      </c:valAx>
      <c:spPr>
        <a:noFill/>
        <a:ln>
          <a:noFill/>
        </a:ln>
        <a:effectLst/>
      </c:spPr>
    </c:plotArea>
    <c:legend>
      <c:legendPos val="r"/>
      <c:legendEntry>
        <c:idx val="0"/>
        <c:delete val="1"/>
      </c:legendEntry>
      <c:layout>
        <c:manualLayout>
          <c:xMode val="edge"/>
          <c:yMode val="edge"/>
          <c:x val="0.10934172984053406"/>
          <c:y val="0.57832597983597822"/>
          <c:w val="0.50275106298773597"/>
          <c:h val="0.25319080933873911"/>
        </c:manualLayout>
      </c:layout>
      <c:overlay val="1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GB" sz="1300" b="0" i="0" u="none" strike="noStrike" kern="1200" baseline="0">
              <a:solidFill>
                <a:schemeClr val="tx1"/>
              </a:solidFill>
              <a:latin typeface="Univers for BP" panose="020B0603020202020204" pitchFamily="34" charset="0"/>
              <a:ea typeface="Univers 55"/>
              <a:cs typeface="Univers 55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 algn="ctr">
        <a:defRPr lang="en-GB" sz="1200" b="0" i="0" u="none" strike="noStrike" kern="1200" baseline="0">
          <a:solidFill>
            <a:srgbClr val="000000"/>
          </a:solidFill>
          <a:latin typeface="Univers for BP Light" panose="020B0403020202020204" pitchFamily="34" charset="0"/>
          <a:ea typeface="Univers 55"/>
          <a:cs typeface="Univers 55"/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694817182845826E-2"/>
          <c:y val="6.1652143121700656E-2"/>
          <c:w val="0.85134175967084069"/>
          <c:h val="0.810816750985986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Base blocks</c:v>
                </c:pt>
              </c:strCache>
            </c:strRef>
          </c:tx>
          <c:spPr>
            <a:noFill/>
            <a:ln>
              <a:noFill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FF9900"/>
              </a:solidFill>
              <a:ln>
                <a:solidFill>
                  <a:schemeClr val="bg1">
                    <a:lumMod val="75000"/>
                  </a:schemeClr>
                </a:solidFill>
              </a:ln>
            </c:spPr>
            <c:extLst>
              <c:ext xmlns:c16="http://schemas.microsoft.com/office/drawing/2014/chart" uri="{C3380CC4-5D6E-409C-BE32-E72D297353CC}">
                <c16:uniqueId val="{00000001-9428-4F86-B8CB-F8B5E493E3F8}"/>
              </c:ext>
            </c:extLst>
          </c:dPt>
          <c:cat>
            <c:strRef>
              <c:f>Sheet1!$B$1:$G$1</c:f>
              <c:strCache>
                <c:ptCount val="6"/>
                <c:pt idx="0">
                  <c:v>Series 1</c:v>
                </c:pt>
                <c:pt idx="1">
                  <c:v>Column1</c:v>
                </c:pt>
                <c:pt idx="2">
                  <c:v>Series 2</c:v>
                </c:pt>
                <c:pt idx="3">
                  <c:v>Series 3</c:v>
                </c:pt>
                <c:pt idx="4">
                  <c:v>Series 4</c:v>
                </c:pt>
                <c:pt idx="5">
                  <c:v>Series 5</c:v>
                </c:pt>
              </c:strCache>
            </c:strRef>
          </c:cat>
          <c:val>
            <c:numRef>
              <c:f>Sheet1!$B$2:$G$2</c:f>
              <c:numCache>
                <c:formatCode>_(* #,##0_);_(* \(#,##0\);_(* "-"??_);_(@_)</c:formatCode>
                <c:ptCount val="6"/>
                <c:pt idx="1">
                  <c:v>33102.219622037337</c:v>
                </c:pt>
                <c:pt idx="2">
                  <c:v>22292.675478856305</c:v>
                </c:pt>
                <c:pt idx="3">
                  <c:v>20514.999270141023</c:v>
                </c:pt>
                <c:pt idx="4">
                  <c:v>17629.742005368964</c:v>
                </c:pt>
                <c:pt idx="5">
                  <c:v>17629.7420053689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428-4F86-B8CB-F8B5E493E3F8}"/>
            </c:ext>
          </c:extLst>
        </c:ser>
        <c:ser>
          <c:idx val="4"/>
          <c:order val="1"/>
          <c:tx>
            <c:strRef>
              <c:f>Sheet1!$A$3</c:f>
              <c:strCache>
                <c:ptCount val="1"/>
                <c:pt idx="0">
                  <c:v>Evolving transitions</c:v>
                </c:pt>
              </c:strCache>
            </c:strRef>
          </c:tx>
          <c:spPr>
            <a:solidFill>
              <a:srgbClr val="000099"/>
            </a:solidFill>
            <a:ln>
              <a:solidFill>
                <a:schemeClr val="bg1">
                  <a:lumMod val="75000"/>
                </a:schemeClr>
              </a:solidFill>
            </a:ln>
          </c:spPr>
          <c:invertIfNegative val="0"/>
          <c:cat>
            <c:strRef>
              <c:f>Sheet1!$B$1:$G$1</c:f>
              <c:strCache>
                <c:ptCount val="6"/>
                <c:pt idx="0">
                  <c:v>Series 1</c:v>
                </c:pt>
                <c:pt idx="1">
                  <c:v>Column1</c:v>
                </c:pt>
                <c:pt idx="2">
                  <c:v>Series 2</c:v>
                </c:pt>
                <c:pt idx="3">
                  <c:v>Series 3</c:v>
                </c:pt>
                <c:pt idx="4">
                  <c:v>Series 4</c:v>
                </c:pt>
                <c:pt idx="5">
                  <c:v>Series 5</c:v>
                </c:pt>
              </c:strCache>
            </c:strRef>
          </c:cat>
          <c:val>
            <c:numRef>
              <c:f>Sheet1!$B$3:$G$3</c:f>
              <c:numCache>
                <c:formatCode>General</c:formatCode>
                <c:ptCount val="6"/>
                <c:pt idx="0" formatCode="_(* #,##0_);_(* \(#,##0\);_(* &quot;-&quot;??_);_(@_)">
                  <c:v>36775.9205257817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428-4F86-B8CB-F8B5E493E3F8}"/>
            </c:ext>
          </c:extLst>
        </c:ser>
        <c:ser>
          <c:idx val="1"/>
          <c:order val="2"/>
          <c:tx>
            <c:strRef>
              <c:f>Sheet1!$A$4</c:f>
              <c:strCache>
                <c:ptCount val="1"/>
                <c:pt idx="0">
                  <c:v>Energy intensity</c:v>
                </c:pt>
              </c:strCache>
            </c:strRef>
          </c:tx>
          <c:spPr>
            <a:solidFill>
              <a:srgbClr val="00CCCC"/>
            </a:solidFill>
            <a:ln>
              <a:solidFill>
                <a:schemeClr val="bg1">
                  <a:lumMod val="75000"/>
                </a:schemeClr>
              </a:solidFill>
            </a:ln>
          </c:spPr>
          <c:invertIfNegative val="0"/>
          <c:cat>
            <c:strRef>
              <c:f>Sheet1!$B$1:$G$1</c:f>
              <c:strCache>
                <c:ptCount val="6"/>
                <c:pt idx="0">
                  <c:v>Series 1</c:v>
                </c:pt>
                <c:pt idx="1">
                  <c:v>Column1</c:v>
                </c:pt>
                <c:pt idx="2">
                  <c:v>Series 2</c:v>
                </c:pt>
                <c:pt idx="3">
                  <c:v>Series 3</c:v>
                </c:pt>
                <c:pt idx="4">
                  <c:v>Series 4</c:v>
                </c:pt>
                <c:pt idx="5">
                  <c:v>Series 5</c:v>
                </c:pt>
              </c:strCache>
            </c:strRef>
          </c:cat>
          <c:val>
            <c:numRef>
              <c:f>Sheet1!$B$4:$G$4</c:f>
              <c:numCache>
                <c:formatCode>_(* #,##0_);_(* \(#,##0\);_(* "-"??_);_(@_)</c:formatCode>
                <c:ptCount val="6"/>
                <c:pt idx="1">
                  <c:v>3673.7009037444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428-4F86-B8CB-F8B5E493E3F8}"/>
            </c:ext>
          </c:extLst>
        </c:ser>
        <c:ser>
          <c:idx val="2"/>
          <c:order val="3"/>
          <c:tx>
            <c:strRef>
              <c:f>Sheet1!$A$5</c:f>
              <c:strCache>
                <c:ptCount val="1"/>
                <c:pt idx="0">
                  <c:v>Coal to gas in power</c:v>
                </c:pt>
              </c:strCache>
            </c:strRef>
          </c:tx>
          <c:spPr>
            <a:solidFill>
              <a:srgbClr val="6633C9"/>
            </a:solidFill>
            <a:ln>
              <a:solidFill>
                <a:schemeClr val="bg1">
                  <a:lumMod val="75000"/>
                </a:schemeClr>
              </a:solidFill>
            </a:ln>
          </c:spPr>
          <c:invertIfNegative val="0"/>
          <c:cat>
            <c:strRef>
              <c:f>Sheet1!$B$1:$G$1</c:f>
              <c:strCache>
                <c:ptCount val="6"/>
                <c:pt idx="0">
                  <c:v>Series 1</c:v>
                </c:pt>
                <c:pt idx="1">
                  <c:v>Column1</c:v>
                </c:pt>
                <c:pt idx="2">
                  <c:v>Series 2</c:v>
                </c:pt>
                <c:pt idx="3">
                  <c:v>Series 3</c:v>
                </c:pt>
                <c:pt idx="4">
                  <c:v>Series 4</c:v>
                </c:pt>
                <c:pt idx="5">
                  <c:v>Series 5</c:v>
                </c:pt>
              </c:strCache>
            </c:strRef>
          </c:cat>
          <c:val>
            <c:numRef>
              <c:f>Sheet1!$B$5:$G$5</c:f>
              <c:numCache>
                <c:formatCode>General</c:formatCode>
                <c:ptCount val="6"/>
                <c:pt idx="2">
                  <c:v>10809.5441431810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428-4F86-B8CB-F8B5E493E3F8}"/>
            </c:ext>
          </c:extLst>
        </c:ser>
        <c:ser>
          <c:idx val="3"/>
          <c:order val="4"/>
          <c:tx>
            <c:strRef>
              <c:f>Sheet1!$A$6</c:f>
              <c:strCache>
                <c:ptCount val="1"/>
                <c:pt idx="0">
                  <c:v>Non fossil fuel</c:v>
                </c:pt>
              </c:strCache>
            </c:strRef>
          </c:tx>
          <c:spPr>
            <a:solidFill>
              <a:srgbClr val="6633C9"/>
            </a:solidFill>
            <a:ln>
              <a:solidFill>
                <a:schemeClr val="bg1">
                  <a:lumMod val="75000"/>
                </a:schemeClr>
              </a:solidFill>
            </a:ln>
          </c:spPr>
          <c:invertIfNegative val="0"/>
          <c:cat>
            <c:strRef>
              <c:f>Sheet1!$B$1:$G$1</c:f>
              <c:strCache>
                <c:ptCount val="6"/>
                <c:pt idx="0">
                  <c:v>Series 1</c:v>
                </c:pt>
                <c:pt idx="1">
                  <c:v>Column1</c:v>
                </c:pt>
                <c:pt idx="2">
                  <c:v>Series 2</c:v>
                </c:pt>
                <c:pt idx="3">
                  <c:v>Series 3</c:v>
                </c:pt>
                <c:pt idx="4">
                  <c:v>Series 4</c:v>
                </c:pt>
                <c:pt idx="5">
                  <c:v>Series 5</c:v>
                </c:pt>
              </c:strCache>
            </c:strRef>
          </c:cat>
          <c:val>
            <c:numRef>
              <c:f>Sheet1!$B$6:$G$6</c:f>
              <c:numCache>
                <c:formatCode>General</c:formatCode>
                <c:ptCount val="6"/>
              </c:numCache>
            </c:numRef>
          </c:val>
          <c:extLst>
            <c:ext xmlns:c16="http://schemas.microsoft.com/office/drawing/2014/chart" uri="{C3380CC4-5D6E-409C-BE32-E72D297353CC}">
              <c16:uniqueId val="{00000006-9428-4F86-B8CB-F8B5E493E3F8}"/>
            </c:ext>
          </c:extLst>
        </c:ser>
        <c:ser>
          <c:idx val="5"/>
          <c:order val="5"/>
          <c:tx>
            <c:strRef>
              <c:f>Sheet1!$A$7</c:f>
              <c:strCache>
                <c:ptCount val="1"/>
                <c:pt idx="0">
                  <c:v>Other carbon intensity</c:v>
                </c:pt>
              </c:strCache>
            </c:strRef>
          </c:tx>
          <c:spPr>
            <a:ln>
              <a:solidFill>
                <a:schemeClr val="bg1">
                  <a:lumMod val="75000"/>
                </a:schemeClr>
              </a:solidFill>
            </a:ln>
          </c:spPr>
          <c:invertIfNegative val="0"/>
          <c:dPt>
            <c:idx val="3"/>
            <c:invertIfNegative val="0"/>
            <c:bubble3D val="0"/>
            <c:spPr>
              <a:solidFill>
                <a:srgbClr val="FF9999"/>
              </a:solidFill>
              <a:ln>
                <a:solidFill>
                  <a:schemeClr val="bg1">
                    <a:lumMod val="75000"/>
                  </a:schemeClr>
                </a:solidFill>
              </a:ln>
            </c:spPr>
            <c:extLst>
              <c:ext xmlns:c16="http://schemas.microsoft.com/office/drawing/2014/chart" uri="{C3380CC4-5D6E-409C-BE32-E72D297353CC}">
                <c16:uniqueId val="{00000008-9428-4F86-B8CB-F8B5E493E3F8}"/>
              </c:ext>
            </c:extLst>
          </c:dPt>
          <c:cat>
            <c:strRef>
              <c:f>Sheet1!$B$1:$G$1</c:f>
              <c:strCache>
                <c:ptCount val="6"/>
                <c:pt idx="0">
                  <c:v>Series 1</c:v>
                </c:pt>
                <c:pt idx="1">
                  <c:v>Column1</c:v>
                </c:pt>
                <c:pt idx="2">
                  <c:v>Series 2</c:v>
                </c:pt>
                <c:pt idx="3">
                  <c:v>Series 3</c:v>
                </c:pt>
                <c:pt idx="4">
                  <c:v>Series 4</c:v>
                </c:pt>
                <c:pt idx="5">
                  <c:v>Series 5</c:v>
                </c:pt>
              </c:strCache>
            </c:strRef>
          </c:cat>
          <c:val>
            <c:numRef>
              <c:f>Sheet1!$B$7:$G$7</c:f>
              <c:numCache>
                <c:formatCode>General</c:formatCode>
                <c:ptCount val="6"/>
                <c:pt idx="3" formatCode="_(* #,##0_);_(* \(#,##0\);_(* &quot;-&quot;??_);_(@_)">
                  <c:v>1777.67620871528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9428-4F86-B8CB-F8B5E493E3F8}"/>
            </c:ext>
          </c:extLst>
        </c:ser>
        <c:ser>
          <c:idx val="6"/>
          <c:order val="6"/>
          <c:tx>
            <c:strRef>
              <c:f>Sheet1!$A$8</c:f>
              <c:strCache>
                <c:ptCount val="1"/>
                <c:pt idx="0">
                  <c:v>CCUS</c:v>
                </c:pt>
              </c:strCache>
            </c:strRef>
          </c:tx>
          <c:spPr>
            <a:solidFill>
              <a:srgbClr val="6666CC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6666CC"/>
              </a:solidFill>
              <a:ln>
                <a:solidFill>
                  <a:schemeClr val="bg1">
                    <a:lumMod val="75000"/>
                  </a:schemeClr>
                </a:solidFill>
              </a:ln>
            </c:spPr>
            <c:extLst>
              <c:ext xmlns:c16="http://schemas.microsoft.com/office/drawing/2014/chart" uri="{C3380CC4-5D6E-409C-BE32-E72D297353CC}">
                <c16:uniqueId val="{00000004-04D7-4CA0-988E-E24939666936}"/>
              </c:ext>
            </c:extLst>
          </c:dPt>
          <c:cat>
            <c:strRef>
              <c:f>Sheet1!$B$1:$G$1</c:f>
              <c:strCache>
                <c:ptCount val="6"/>
                <c:pt idx="0">
                  <c:v>Series 1</c:v>
                </c:pt>
                <c:pt idx="1">
                  <c:v>Column1</c:v>
                </c:pt>
                <c:pt idx="2">
                  <c:v>Series 2</c:v>
                </c:pt>
                <c:pt idx="3">
                  <c:v>Series 3</c:v>
                </c:pt>
                <c:pt idx="4">
                  <c:v>Series 4</c:v>
                </c:pt>
                <c:pt idx="5">
                  <c:v>Series 5</c:v>
                </c:pt>
              </c:strCache>
            </c:strRef>
          </c:cat>
          <c:val>
            <c:numRef>
              <c:f>Sheet1!$B$8:$G$8</c:f>
              <c:numCache>
                <c:formatCode>General</c:formatCode>
                <c:ptCount val="6"/>
                <c:pt idx="4" formatCode="_(* #,##0_);_(* \(#,##0\);_(* &quot;-&quot;??_);_(@_)">
                  <c:v>2885.25726477205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428-4F86-B8CB-F8B5E493E3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"/>
        <c:overlap val="100"/>
        <c:axId val="94139904"/>
        <c:axId val="94141440"/>
      </c:barChart>
      <c:catAx>
        <c:axId val="9413990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one"/>
        <c:spPr>
          <a:ln>
            <a:solidFill>
              <a:srgbClr val="666666"/>
            </a:solidFill>
          </a:ln>
        </c:spPr>
        <c:crossAx val="94141440"/>
        <c:crosses val="autoZero"/>
        <c:auto val="1"/>
        <c:lblAlgn val="ctr"/>
        <c:lblOffset val="100"/>
        <c:noMultiLvlLbl val="0"/>
      </c:catAx>
      <c:valAx>
        <c:axId val="94141440"/>
        <c:scaling>
          <c:orientation val="minMax"/>
        </c:scaling>
        <c:delete val="0"/>
        <c:axPos val="l"/>
        <c:numFmt formatCode="General" sourceLinked="0"/>
        <c:majorTickMark val="in"/>
        <c:minorTickMark val="none"/>
        <c:tickLblPos val="nextTo"/>
        <c:spPr>
          <a:ln>
            <a:solidFill>
              <a:srgbClr val="666666"/>
            </a:solidFill>
          </a:ln>
        </c:spPr>
        <c:txPr>
          <a:bodyPr/>
          <a:lstStyle/>
          <a:p>
            <a:pPr algn="ctr">
              <a:defRPr lang="en-GB" sz="1300" b="0" i="0" u="none" strike="noStrike" kern="1200" baseline="0">
                <a:solidFill>
                  <a:srgbClr val="000000"/>
                </a:solidFill>
                <a:latin typeface="Univers for BP Light" panose="020B0403020202020204" pitchFamily="34" charset="0"/>
                <a:ea typeface="Univers 55"/>
                <a:cs typeface="Univers 55"/>
              </a:defRPr>
            </a:pPr>
            <a:endParaRPr lang="en-US"/>
          </a:p>
        </c:txPr>
        <c:crossAx val="94139904"/>
        <c:crosses val="autoZero"/>
        <c:crossBetween val="between"/>
        <c:majorUnit val="10000"/>
        <c:dispUnits>
          <c:builtInUnit val="thousands"/>
        </c:dispUnits>
      </c:valAx>
    </c:plotArea>
    <c:plotVisOnly val="1"/>
    <c:dispBlanksAs val="gap"/>
    <c:showDLblsOverMax val="0"/>
  </c:chart>
  <c:txPr>
    <a:bodyPr/>
    <a:lstStyle/>
    <a:p>
      <a:pPr>
        <a:defRPr sz="1500">
          <a:latin typeface="Univers for BP Light" panose="020B0403020202020204" pitchFamily="34" charset="0"/>
        </a:defRPr>
      </a:pPr>
      <a:endParaRPr lang="en-US"/>
    </a:p>
  </c:txPr>
  <c:externalData r:id="rId1">
    <c:autoUpdate val="0"/>
  </c:externalData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5766005988606037E-2"/>
          <c:y val="8.7902628135588717E-2"/>
          <c:w val="0.85090777005746721"/>
          <c:h val="0.774113777414979"/>
        </c:manualLayout>
      </c:layout>
      <c:lineChart>
        <c:grouping val="standard"/>
        <c:varyColors val="0"/>
        <c:ser>
          <c:idx val="2"/>
          <c:order val="0"/>
          <c:tx>
            <c:strRef>
              <c:f>Sheet1!$A$2</c:f>
              <c:strCache>
                <c:ptCount val="1"/>
                <c:pt idx="0">
                  <c:v>Coal</c:v>
                </c:pt>
              </c:strCache>
            </c:strRef>
          </c:tx>
          <c:spPr>
            <a:ln w="28575">
              <a:solidFill>
                <a:srgbClr val="666666"/>
              </a:solidFill>
            </a:ln>
          </c:spPr>
          <c:marker>
            <c:symbol val="none"/>
          </c:marker>
          <c:cat>
            <c:numRef>
              <c:f>Sheet1!$B$1:$X$1</c:f>
              <c:numCache>
                <c:formatCode>General</c:formatCode>
                <c:ptCount val="21"/>
                <c:pt idx="0">
                  <c:v>1997</c:v>
                </c:pt>
                <c:pt idx="1">
                  <c:v>1998</c:v>
                </c:pt>
                <c:pt idx="2">
                  <c:v>1999</c:v>
                </c:pt>
                <c:pt idx="3">
                  <c:v>2000</c:v>
                </c:pt>
                <c:pt idx="4">
                  <c:v>2001</c:v>
                </c:pt>
                <c:pt idx="5">
                  <c:v>2002</c:v>
                </c:pt>
                <c:pt idx="6">
                  <c:v>2003</c:v>
                </c:pt>
                <c:pt idx="7">
                  <c:v>2004</c:v>
                </c:pt>
                <c:pt idx="8">
                  <c:v>2005</c:v>
                </c:pt>
                <c:pt idx="9">
                  <c:v>2006</c:v>
                </c:pt>
                <c:pt idx="10">
                  <c:v>2007</c:v>
                </c:pt>
                <c:pt idx="11">
                  <c:v>2008</c:v>
                </c:pt>
                <c:pt idx="12">
                  <c:v>2009</c:v>
                </c:pt>
                <c:pt idx="13">
                  <c:v>2010</c:v>
                </c:pt>
                <c:pt idx="14">
                  <c:v>2011</c:v>
                </c:pt>
                <c:pt idx="15">
                  <c:v>2012</c:v>
                </c:pt>
                <c:pt idx="16">
                  <c:v>2013</c:v>
                </c:pt>
                <c:pt idx="17">
                  <c:v>2014</c:v>
                </c:pt>
                <c:pt idx="18">
                  <c:v>2015</c:v>
                </c:pt>
                <c:pt idx="19">
                  <c:v>2016</c:v>
                </c:pt>
                <c:pt idx="20">
                  <c:v>2017</c:v>
                </c:pt>
              </c:numCache>
            </c:numRef>
          </c:cat>
          <c:val>
            <c:numRef>
              <c:f>Sheet1!$B$2:$X$2</c:f>
              <c:numCache>
                <c:formatCode>0.0%</c:formatCode>
                <c:ptCount val="21"/>
                <c:pt idx="0">
                  <c:v>0.38179663699259492</c:v>
                </c:pt>
                <c:pt idx="1">
                  <c:v>0.3794481437658343</c:v>
                </c:pt>
                <c:pt idx="2">
                  <c:v>0.37677845102631841</c:v>
                </c:pt>
                <c:pt idx="3">
                  <c:v>0.3847659595905546</c:v>
                </c:pt>
                <c:pt idx="4">
                  <c:v>0.38413517964198335</c:v>
                </c:pt>
                <c:pt idx="5">
                  <c:v>0.3863762938659504</c:v>
                </c:pt>
                <c:pt idx="6">
                  <c:v>0.39952153067991875</c:v>
                </c:pt>
                <c:pt idx="7">
                  <c:v>0.39456834312051581</c:v>
                </c:pt>
                <c:pt idx="8">
                  <c:v>0.3987552501111753</c:v>
                </c:pt>
                <c:pt idx="9">
                  <c:v>0.40502010875540578</c:v>
                </c:pt>
                <c:pt idx="10">
                  <c:v>0.41172583536656582</c:v>
                </c:pt>
                <c:pt idx="11">
                  <c:v>0.40466579381901446</c:v>
                </c:pt>
                <c:pt idx="12">
                  <c:v>0.40045316084225097</c:v>
                </c:pt>
                <c:pt idx="13">
                  <c:v>0.40069249399973456</c:v>
                </c:pt>
                <c:pt idx="14">
                  <c:v>0.40821491272554389</c:v>
                </c:pt>
                <c:pt idx="15">
                  <c:v>0.40015388899442017</c:v>
                </c:pt>
                <c:pt idx="16">
                  <c:v>0.40867772952067571</c:v>
                </c:pt>
                <c:pt idx="17">
                  <c:v>0.40220039608488595</c:v>
                </c:pt>
                <c:pt idx="18">
                  <c:v>0.38700398396242425</c:v>
                </c:pt>
                <c:pt idx="19">
                  <c:v>0.37909894603445526</c:v>
                </c:pt>
                <c:pt idx="20">
                  <c:v>0.38054602949409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331-46D2-A3CE-A6AAC5F55BA2}"/>
            </c:ext>
          </c:extLst>
        </c:ser>
        <c:ser>
          <c:idx val="1"/>
          <c:order val="1"/>
          <c:tx>
            <c:strRef>
              <c:f>Sheet1!$A$4</c:f>
              <c:strCache>
                <c:ptCount val="1"/>
                <c:pt idx="0">
                  <c:v>Non-fossil</c:v>
                </c:pt>
              </c:strCache>
            </c:strRef>
          </c:tx>
          <c:spPr>
            <a:ln>
              <a:solidFill>
                <a:srgbClr val="00CCCC"/>
              </a:solidFill>
            </a:ln>
          </c:spPr>
          <c:marker>
            <c:symbol val="none"/>
          </c:marker>
          <c:cat>
            <c:numRef>
              <c:f>Sheet1!$B$1:$X$1</c:f>
              <c:numCache>
                <c:formatCode>General</c:formatCode>
                <c:ptCount val="21"/>
                <c:pt idx="0">
                  <c:v>1997</c:v>
                </c:pt>
                <c:pt idx="1">
                  <c:v>1998</c:v>
                </c:pt>
                <c:pt idx="2">
                  <c:v>1999</c:v>
                </c:pt>
                <c:pt idx="3">
                  <c:v>2000</c:v>
                </c:pt>
                <c:pt idx="4">
                  <c:v>2001</c:v>
                </c:pt>
                <c:pt idx="5">
                  <c:v>2002</c:v>
                </c:pt>
                <c:pt idx="6">
                  <c:v>2003</c:v>
                </c:pt>
                <c:pt idx="7">
                  <c:v>2004</c:v>
                </c:pt>
                <c:pt idx="8">
                  <c:v>2005</c:v>
                </c:pt>
                <c:pt idx="9">
                  <c:v>2006</c:v>
                </c:pt>
                <c:pt idx="10">
                  <c:v>2007</c:v>
                </c:pt>
                <c:pt idx="11">
                  <c:v>2008</c:v>
                </c:pt>
                <c:pt idx="12">
                  <c:v>2009</c:v>
                </c:pt>
                <c:pt idx="13">
                  <c:v>2010</c:v>
                </c:pt>
                <c:pt idx="14">
                  <c:v>2011</c:v>
                </c:pt>
                <c:pt idx="15">
                  <c:v>2012</c:v>
                </c:pt>
                <c:pt idx="16">
                  <c:v>2013</c:v>
                </c:pt>
                <c:pt idx="17">
                  <c:v>2014</c:v>
                </c:pt>
                <c:pt idx="18">
                  <c:v>2015</c:v>
                </c:pt>
                <c:pt idx="19">
                  <c:v>2016</c:v>
                </c:pt>
                <c:pt idx="20">
                  <c:v>2017</c:v>
                </c:pt>
              </c:numCache>
            </c:numRef>
          </c:cat>
          <c:val>
            <c:numRef>
              <c:f>Sheet1!$B$4:$X$4</c:f>
              <c:numCache>
                <c:formatCode>0.0%</c:formatCode>
                <c:ptCount val="21"/>
                <c:pt idx="0">
                  <c:v>0.3700016667619076</c:v>
                </c:pt>
                <c:pt idx="1">
                  <c:v>0.36611763257146401</c:v>
                </c:pt>
                <c:pt idx="2">
                  <c:v>0.36475324380981666</c:v>
                </c:pt>
                <c:pt idx="3">
                  <c:v>0.3579251545551182</c:v>
                </c:pt>
                <c:pt idx="4">
                  <c:v>0.35333272760863388</c:v>
                </c:pt>
                <c:pt idx="5">
                  <c:v>0.3487064188691219</c:v>
                </c:pt>
                <c:pt idx="6">
                  <c:v>0.33523188969560402</c:v>
                </c:pt>
                <c:pt idx="7">
                  <c:v>0.3392503930753441</c:v>
                </c:pt>
                <c:pt idx="8">
                  <c:v>0.33477636772730046</c:v>
                </c:pt>
                <c:pt idx="9">
                  <c:v>0.33248765990892992</c:v>
                </c:pt>
                <c:pt idx="10">
                  <c:v>0.32050606950325145</c:v>
                </c:pt>
                <c:pt idx="11">
                  <c:v>0.32654511200455283</c:v>
                </c:pt>
                <c:pt idx="12">
                  <c:v>0.33096608549076112</c:v>
                </c:pt>
                <c:pt idx="13">
                  <c:v>0.32935070665827382</c:v>
                </c:pt>
                <c:pt idx="14">
                  <c:v>0.32352242160334077</c:v>
                </c:pt>
                <c:pt idx="15">
                  <c:v>0.32212087721538518</c:v>
                </c:pt>
                <c:pt idx="16">
                  <c:v>0.32786557021234886</c:v>
                </c:pt>
                <c:pt idx="17">
                  <c:v>0.33439826047163057</c:v>
                </c:pt>
                <c:pt idx="18">
                  <c:v>0.33971744235765311</c:v>
                </c:pt>
                <c:pt idx="19">
                  <c:v>0.3478118960809321</c:v>
                </c:pt>
                <c:pt idx="20">
                  <c:v>0.353388953471052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331-46D2-A3CE-A6AAC5F55BA2}"/>
            </c:ext>
          </c:extLst>
        </c:ser>
        <c:ser>
          <c:idx val="0"/>
          <c:order val="2"/>
          <c:tx>
            <c:strRef>
              <c:f>Sheet1!$A$3</c:f>
              <c:strCache>
                <c:ptCount val="1"/>
                <c:pt idx="0">
                  <c:v>Oil &amp; gas</c:v>
                </c:pt>
              </c:strCache>
            </c:strRef>
          </c:tx>
          <c:spPr>
            <a:ln w="28575">
              <a:solidFill>
                <a:srgbClr val="DC0000"/>
              </a:solidFill>
              <a:prstDash val="solid"/>
            </a:ln>
          </c:spPr>
          <c:marker>
            <c:symbol val="none"/>
          </c:marke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2-A331-46D2-A3CE-A6AAC5F55BA2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3-A331-46D2-A3CE-A6AAC5F55BA2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4-A331-46D2-A3CE-A6AAC5F55BA2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5-A331-46D2-A3CE-A6AAC5F55BA2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06-A331-46D2-A3CE-A6AAC5F55BA2}"/>
              </c:ext>
            </c:extLst>
          </c:dPt>
          <c:dPt>
            <c:idx val="5"/>
            <c:bubble3D val="0"/>
            <c:extLst>
              <c:ext xmlns:c16="http://schemas.microsoft.com/office/drawing/2014/chart" uri="{C3380CC4-5D6E-409C-BE32-E72D297353CC}">
                <c16:uniqueId val="{00000007-A331-46D2-A3CE-A6AAC5F55BA2}"/>
              </c:ext>
            </c:extLst>
          </c:dPt>
          <c:cat>
            <c:numRef>
              <c:f>Sheet1!$B$1:$X$1</c:f>
              <c:numCache>
                <c:formatCode>General</c:formatCode>
                <c:ptCount val="21"/>
                <c:pt idx="0">
                  <c:v>1997</c:v>
                </c:pt>
                <c:pt idx="1">
                  <c:v>1998</c:v>
                </c:pt>
                <c:pt idx="2">
                  <c:v>1999</c:v>
                </c:pt>
                <c:pt idx="3">
                  <c:v>2000</c:v>
                </c:pt>
                <c:pt idx="4">
                  <c:v>2001</c:v>
                </c:pt>
                <c:pt idx="5">
                  <c:v>2002</c:v>
                </c:pt>
                <c:pt idx="6">
                  <c:v>2003</c:v>
                </c:pt>
                <c:pt idx="7">
                  <c:v>2004</c:v>
                </c:pt>
                <c:pt idx="8">
                  <c:v>2005</c:v>
                </c:pt>
                <c:pt idx="9">
                  <c:v>2006</c:v>
                </c:pt>
                <c:pt idx="10">
                  <c:v>2007</c:v>
                </c:pt>
                <c:pt idx="11">
                  <c:v>2008</c:v>
                </c:pt>
                <c:pt idx="12">
                  <c:v>2009</c:v>
                </c:pt>
                <c:pt idx="13">
                  <c:v>2010</c:v>
                </c:pt>
                <c:pt idx="14">
                  <c:v>2011</c:v>
                </c:pt>
                <c:pt idx="15">
                  <c:v>2012</c:v>
                </c:pt>
                <c:pt idx="16">
                  <c:v>2013</c:v>
                </c:pt>
                <c:pt idx="17">
                  <c:v>2014</c:v>
                </c:pt>
                <c:pt idx="18">
                  <c:v>2015</c:v>
                </c:pt>
                <c:pt idx="19">
                  <c:v>2016</c:v>
                </c:pt>
                <c:pt idx="20">
                  <c:v>2017</c:v>
                </c:pt>
              </c:numCache>
            </c:numRef>
          </c:cat>
          <c:val>
            <c:numRef>
              <c:f>Sheet1!$B$3:$X$3</c:f>
              <c:numCache>
                <c:formatCode>0.0%</c:formatCode>
                <c:ptCount val="21"/>
                <c:pt idx="0">
                  <c:v>0.24820169624549751</c:v>
                </c:pt>
                <c:pt idx="1">
                  <c:v>0.25443422366270169</c:v>
                </c:pt>
                <c:pt idx="2">
                  <c:v>0.25846830516386493</c:v>
                </c:pt>
                <c:pt idx="3">
                  <c:v>0.25730888585432721</c:v>
                </c:pt>
                <c:pt idx="4">
                  <c:v>0.26253209274938272</c:v>
                </c:pt>
                <c:pt idx="5">
                  <c:v>0.26491728726492769</c:v>
                </c:pt>
                <c:pt idx="6">
                  <c:v>0.26524657962447723</c:v>
                </c:pt>
                <c:pt idx="7">
                  <c:v>0.26618126380414014</c:v>
                </c:pt>
                <c:pt idx="8">
                  <c:v>0.26646838216152419</c:v>
                </c:pt>
                <c:pt idx="9">
                  <c:v>0.26249223133566429</c:v>
                </c:pt>
                <c:pt idx="10">
                  <c:v>0.26776809513018268</c:v>
                </c:pt>
                <c:pt idx="11">
                  <c:v>0.26878909417643265</c:v>
                </c:pt>
                <c:pt idx="12">
                  <c:v>0.26858075366698786</c:v>
                </c:pt>
                <c:pt idx="13">
                  <c:v>0.26995679934199168</c:v>
                </c:pt>
                <c:pt idx="14">
                  <c:v>0.26826266567111545</c:v>
                </c:pt>
                <c:pt idx="15">
                  <c:v>0.27772523379019476</c:v>
                </c:pt>
                <c:pt idx="16">
                  <c:v>0.26345670026697543</c:v>
                </c:pt>
                <c:pt idx="17">
                  <c:v>0.26340134344348343</c:v>
                </c:pt>
                <c:pt idx="18">
                  <c:v>0.27327857367992264</c:v>
                </c:pt>
                <c:pt idx="19">
                  <c:v>0.27308915788461263</c:v>
                </c:pt>
                <c:pt idx="20">
                  <c:v>0.266065017034854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A331-46D2-A3CE-A6AAC5F55B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15986816"/>
        <c:axId val="115988352"/>
      </c:lineChart>
      <c:catAx>
        <c:axId val="1159868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ln w="9525">
            <a:solidFill>
              <a:srgbClr val="666666"/>
            </a:solidFill>
            <a:prstDash val="solid"/>
          </a:ln>
        </c:spPr>
        <c:txPr>
          <a:bodyPr rot="0" vert="horz"/>
          <a:lstStyle/>
          <a:p>
            <a:pPr algn="ctr">
              <a:defRPr sz="1300">
                <a:latin typeface="Univers for BP Light" panose="020B0403020202020204" pitchFamily="34" charset="0"/>
              </a:defRPr>
            </a:pPr>
            <a:endParaRPr lang="en-US"/>
          </a:p>
        </c:txPr>
        <c:crossAx val="115988352"/>
        <c:crosses val="autoZero"/>
        <c:auto val="1"/>
        <c:lblAlgn val="ctr"/>
        <c:lblOffset val="100"/>
        <c:noMultiLvlLbl val="0"/>
      </c:catAx>
      <c:valAx>
        <c:axId val="115988352"/>
        <c:scaling>
          <c:orientation val="minMax"/>
          <c:max val="0.60000000000000009"/>
          <c:min val="0"/>
        </c:scaling>
        <c:delete val="0"/>
        <c:axPos val="l"/>
        <c:numFmt formatCode="0%" sourceLinked="0"/>
        <c:majorTickMark val="in"/>
        <c:minorTickMark val="none"/>
        <c:tickLblPos val="nextTo"/>
        <c:spPr>
          <a:ln w="9495">
            <a:solidFill>
              <a:srgbClr val="666666"/>
            </a:solidFill>
            <a:prstDash val="solid"/>
          </a:ln>
        </c:spPr>
        <c:txPr>
          <a:bodyPr rot="0" vert="horz"/>
          <a:lstStyle/>
          <a:p>
            <a:pPr algn="ctr">
              <a:defRPr sz="1300">
                <a:latin typeface="Univers for BP Light" panose="020B0403020202020204" pitchFamily="34" charset="0"/>
              </a:defRPr>
            </a:pPr>
            <a:endParaRPr lang="en-US"/>
          </a:p>
        </c:txPr>
        <c:crossAx val="115986816"/>
        <c:crosses val="autoZero"/>
        <c:crossBetween val="between"/>
        <c:majorUnit val="0.1"/>
      </c:valAx>
      <c:spPr>
        <a:noFill/>
        <a:ln w="25400">
          <a:noFill/>
        </a:ln>
      </c:spPr>
    </c:plotArea>
    <c:legend>
      <c:legendPos val="t"/>
      <c:layout>
        <c:manualLayout>
          <c:xMode val="edge"/>
          <c:yMode val="edge"/>
          <c:x val="0.32960518844988052"/>
          <c:y val="0.11767570311753524"/>
          <c:w val="0.3969766068886123"/>
          <c:h val="7.8939340391657564E-2"/>
        </c:manualLayout>
      </c:layout>
      <c:overlay val="0"/>
      <c:spPr>
        <a:noFill/>
      </c:spPr>
      <c:txPr>
        <a:bodyPr/>
        <a:lstStyle/>
        <a:p>
          <a:pPr algn="just">
            <a:defRPr sz="1300">
              <a:latin typeface="Univers for BP" panose="020B0603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 algn="ctr">
        <a:defRPr lang="en-GB" sz="1400" b="0" i="0" u="none" strike="noStrike" kern="1200" baseline="0">
          <a:solidFill>
            <a:srgbClr val="000000"/>
          </a:solidFill>
          <a:latin typeface="Univers 55"/>
          <a:ea typeface="Univers 55"/>
          <a:cs typeface="Univers 55"/>
        </a:defRPr>
      </a:pPr>
      <a:endParaRPr lang="en-US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9251</cdr:x>
      <cdr:y>0.34511</cdr:y>
    </cdr:from>
    <cdr:to>
      <cdr:x>0.5</cdr:x>
      <cdr:y>0.40149</cdr:y>
    </cdr:to>
    <cdr:sp macro="" textlink="">
      <cdr:nvSpPr>
        <cdr:cNvPr id="2" name="Text Box 4">
          <a:extLst xmlns:a="http://schemas.openxmlformats.org/drawingml/2006/main">
            <a:ext uri="{FF2B5EF4-FFF2-40B4-BE49-F238E27FC236}">
              <a16:creationId xmlns:a16="http://schemas.microsoft.com/office/drawing/2014/main" id="{70B70439-76EF-4CBB-A7FA-1D19B2B9228B}"/>
            </a:ext>
          </a:extLst>
        </cdr:cNvPr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1826846" y="1130323"/>
          <a:ext cx="500261" cy="184666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ffectLst xmlns:a="http://schemas.openxmlformats.org/drawingml/2006/main"/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99CC00"/>
              </a:solidFill>
            </a14:hiddenFill>
          </a:ext>
          <a:ext uri="{91240B29-F687-4F45-9708-019B960494DF}">
            <a14:hiddenLine xmlns:a14="http://schemas.microsoft.com/office/drawing/2010/main" w="9525" algn="ctr">
              <a:solidFill>
                <a:schemeClr val="bg2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cdr:spPr>
      <cdr:txBody>
        <a:bodyPr xmlns:a="http://schemas.openxmlformats.org/drawingml/2006/main" wrap="square" lIns="0" tIns="0" rIns="0" bIns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GB" sz="1200" dirty="0">
              <a:solidFill>
                <a:schemeClr val="bg1"/>
              </a:solidFill>
              <a:latin typeface="Univers for BP Light" panose="020B0403020202020204" pitchFamily="34" charset="0"/>
            </a:rPr>
            <a:t>China</a:t>
          </a:r>
        </a:p>
      </cdr:txBody>
    </cdr:sp>
  </cdr:relSizeAnchor>
  <cdr:relSizeAnchor xmlns:cdr="http://schemas.openxmlformats.org/drawingml/2006/chartDrawing">
    <cdr:from>
      <cdr:x>0.53827</cdr:x>
      <cdr:y>0.62463</cdr:y>
    </cdr:from>
    <cdr:to>
      <cdr:x>0.76418</cdr:x>
      <cdr:y>0.66611</cdr:y>
    </cdr:to>
    <cdr:sp macro="" textlink="">
      <cdr:nvSpPr>
        <cdr:cNvPr id="3" name="Text Box 4">
          <a:extLst xmlns:a="http://schemas.openxmlformats.org/drawingml/2006/main">
            <a:ext uri="{FF2B5EF4-FFF2-40B4-BE49-F238E27FC236}">
              <a16:creationId xmlns:a16="http://schemas.microsoft.com/office/drawing/2014/main" id="{FCCEF423-EF12-47A5-967B-6B34EE36DE9C}"/>
            </a:ext>
          </a:extLst>
        </cdr:cNvPr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2438378" y="2548969"/>
          <a:ext cx="1023377" cy="169269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ffectLst xmlns:a="http://schemas.openxmlformats.org/drawingml/2006/main"/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99CC00"/>
              </a:solidFill>
            </a14:hiddenFill>
          </a:ext>
          <a:ext uri="{91240B29-F687-4F45-9708-019B960494DF}">
            <a14:hiddenLine xmlns:a14="http://schemas.microsoft.com/office/drawing/2010/main" w="9525" algn="ctr">
              <a:solidFill>
                <a:schemeClr val="bg2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cdr:spPr>
      <cdr:txBody>
        <a:bodyPr xmlns:a="http://schemas.openxmlformats.org/drawingml/2006/main" wrap="square" lIns="0" tIns="0" rIns="0" bIns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GB" sz="1100" dirty="0">
              <a:solidFill>
                <a:schemeClr val="bg1"/>
              </a:solidFill>
              <a:latin typeface="Univers for BP Light" panose="020B0403020202020204" pitchFamily="34" charset="0"/>
            </a:rPr>
            <a:t>Rest of world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2718</cdr:x>
      <cdr:y>0.87388</cdr:y>
    </cdr:from>
    <cdr:to>
      <cdr:x>0.30322</cdr:x>
      <cdr:y>1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E19DE135-0A75-4238-A349-F118266CBED6}"/>
            </a:ext>
          </a:extLst>
        </cdr:cNvPr>
        <cdr:cNvSpPr txBox="1"/>
      </cdr:nvSpPr>
      <cdr:spPr>
        <a:xfrm xmlns:a="http://schemas.openxmlformats.org/drawingml/2006/main">
          <a:off x="116646" y="3005902"/>
          <a:ext cx="1184659" cy="4338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GB" sz="1200" dirty="0">
              <a:solidFill>
                <a:schemeClr val="tx1"/>
              </a:solidFill>
              <a:latin typeface="Univers for BP Light" panose="020B0403020202020204" pitchFamily="34" charset="0"/>
            </a:rPr>
            <a:t>Evolving </a:t>
          </a:r>
          <a:r>
            <a:rPr lang="en-GB" sz="1300" kern="1200" dirty="0">
              <a:solidFill>
                <a:schemeClr val="tx1"/>
              </a:solidFill>
              <a:latin typeface="Univers for BP Light" panose="020B0403020202020204" pitchFamily="34" charset="0"/>
              <a:ea typeface="Univers 55"/>
              <a:cs typeface="Univers 55"/>
            </a:rPr>
            <a:t>transition</a:t>
          </a:r>
        </a:p>
      </cdr:txBody>
    </cdr:sp>
  </cdr:relSizeAnchor>
  <cdr:relSizeAnchor xmlns:cdr="http://schemas.openxmlformats.org/drawingml/2006/chartDrawing">
    <cdr:from>
      <cdr:x>0.74364</cdr:x>
      <cdr:y>0.87388</cdr:y>
    </cdr:from>
    <cdr:to>
      <cdr:x>1</cdr:x>
      <cdr:y>1</cdr:y>
    </cdr:to>
    <cdr:sp macro="" textlink="">
      <cdr:nvSpPr>
        <cdr:cNvPr id="3" name="TextBox 2">
          <a:extLst xmlns:a="http://schemas.openxmlformats.org/drawingml/2006/main">
            <a:ext uri="{FF2B5EF4-FFF2-40B4-BE49-F238E27FC236}">
              <a16:creationId xmlns:a16="http://schemas.microsoft.com/office/drawing/2014/main" id="{F71D1AA1-681D-42FC-B97E-DE3F29214234}"/>
            </a:ext>
          </a:extLst>
        </cdr:cNvPr>
        <cdr:cNvSpPr txBox="1"/>
      </cdr:nvSpPr>
      <cdr:spPr>
        <a:xfrm xmlns:a="http://schemas.openxmlformats.org/drawingml/2006/main">
          <a:off x="3106743" y="3129253"/>
          <a:ext cx="1071008" cy="45162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GB" sz="1300" kern="1200" dirty="0">
              <a:solidFill>
                <a:schemeClr val="tx1"/>
              </a:solidFill>
              <a:latin typeface="Univers for BP Light" panose="020B0403020202020204" pitchFamily="34" charset="0"/>
              <a:ea typeface="Univers 55"/>
              <a:cs typeface="Univers 55"/>
            </a:rPr>
            <a:t>Low carbon</a:t>
          </a:r>
        </a:p>
      </cdr:txBody>
    </cdr:sp>
  </cdr:relSizeAnchor>
  <cdr:relSizeAnchor xmlns:cdr="http://schemas.openxmlformats.org/drawingml/2006/chartDrawing">
    <cdr:from>
      <cdr:x>0.5</cdr:x>
      <cdr:y>0.54682</cdr:y>
    </cdr:from>
    <cdr:to>
      <cdr:x>0.68197</cdr:x>
      <cdr:y>0.68434</cdr:y>
    </cdr:to>
    <cdr:sp macro="" textlink="">
      <cdr:nvSpPr>
        <cdr:cNvPr id="9" name="TextBox 8">
          <a:extLst xmlns:a="http://schemas.openxmlformats.org/drawingml/2006/main">
            <a:ext uri="{FF2B5EF4-FFF2-40B4-BE49-F238E27FC236}">
              <a16:creationId xmlns:a16="http://schemas.microsoft.com/office/drawing/2014/main" id="{E74140D1-1970-469B-A212-F4058A089051}"/>
            </a:ext>
          </a:extLst>
        </cdr:cNvPr>
        <cdr:cNvSpPr txBox="1"/>
      </cdr:nvSpPr>
      <cdr:spPr>
        <a:xfrm xmlns:a="http://schemas.openxmlformats.org/drawingml/2006/main">
          <a:off x="2145810" y="1835687"/>
          <a:ext cx="780940" cy="46162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indent="0" algn="ctr">
            <a:lnSpc>
              <a:spcPts val="1400"/>
            </a:lnSpc>
          </a:pPr>
          <a:r>
            <a:rPr lang="en-GB" sz="1200" dirty="0">
              <a:solidFill>
                <a:schemeClr val="tx1"/>
              </a:solidFill>
              <a:latin typeface="Univers for BP" panose="020B0603020202020204" pitchFamily="34" charset="0"/>
              <a:ea typeface="+mn-ea"/>
              <a:cs typeface="+mn-cs"/>
            </a:rPr>
            <a:t>Other</a:t>
          </a:r>
        </a:p>
        <a:p xmlns:a="http://schemas.openxmlformats.org/drawingml/2006/main">
          <a:pPr marL="0" indent="0" algn="ctr">
            <a:lnSpc>
              <a:spcPts val="1400"/>
            </a:lnSpc>
          </a:pPr>
          <a:r>
            <a:rPr lang="en-GB" sz="1200" kern="1200" dirty="0">
              <a:solidFill>
                <a:schemeClr val="tx1"/>
              </a:solidFill>
              <a:latin typeface="Univers for BP" panose="020B0603020202020204" pitchFamily="34" charset="0"/>
              <a:ea typeface="Univers 55"/>
              <a:cs typeface="Univers 55"/>
            </a:rPr>
            <a:t>sectors</a:t>
          </a:r>
        </a:p>
      </cdr:txBody>
    </cdr:sp>
  </cdr:relSizeAnchor>
  <cdr:relSizeAnchor xmlns:cdr="http://schemas.openxmlformats.org/drawingml/2006/chartDrawing">
    <cdr:from>
      <cdr:x>0.6515</cdr:x>
      <cdr:y>0.44493</cdr:y>
    </cdr:from>
    <cdr:to>
      <cdr:x>0.82359</cdr:x>
      <cdr:y>0.51343</cdr:y>
    </cdr:to>
    <cdr:sp macro="" textlink="">
      <cdr:nvSpPr>
        <cdr:cNvPr id="10" name="TextBox 9">
          <a:extLst xmlns:a="http://schemas.openxmlformats.org/drawingml/2006/main">
            <a:ext uri="{FF2B5EF4-FFF2-40B4-BE49-F238E27FC236}">
              <a16:creationId xmlns:a16="http://schemas.microsoft.com/office/drawing/2014/main" id="{E4E40144-7141-41B1-BA0B-FD6630DE601B}"/>
            </a:ext>
          </a:extLst>
        </cdr:cNvPr>
        <cdr:cNvSpPr txBox="1"/>
      </cdr:nvSpPr>
      <cdr:spPr>
        <a:xfrm xmlns:a="http://schemas.openxmlformats.org/drawingml/2006/main">
          <a:off x="2827985" y="1530427"/>
          <a:ext cx="747000" cy="23561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GB" sz="1200" dirty="0">
              <a:solidFill>
                <a:schemeClr val="bg1"/>
              </a:solidFill>
              <a:latin typeface="Univers for BP" panose="020B0603020202020204" pitchFamily="34" charset="0"/>
            </a:rPr>
            <a:t>CCUS</a:t>
          </a:r>
        </a:p>
      </cdr:txBody>
    </cdr:sp>
  </cdr:relSizeAnchor>
  <cdr:relSizeAnchor xmlns:cdr="http://schemas.openxmlformats.org/drawingml/2006/chartDrawing">
    <cdr:from>
      <cdr:x>0.45316</cdr:x>
      <cdr:y>0.43166</cdr:y>
    </cdr:from>
    <cdr:to>
      <cdr:x>0.45316</cdr:x>
      <cdr:y>0.49954</cdr:y>
    </cdr:to>
    <cdr:cxnSp macro="">
      <cdr:nvCxnSpPr>
        <cdr:cNvPr id="12" name="Straight Arrow Connector 11">
          <a:extLst xmlns:a="http://schemas.openxmlformats.org/drawingml/2006/main">
            <a:ext uri="{FF2B5EF4-FFF2-40B4-BE49-F238E27FC236}">
              <a16:creationId xmlns:a16="http://schemas.microsoft.com/office/drawing/2014/main" id="{5B53A6C1-CBBA-4738-AF2F-D49AD9ED6C12}"/>
            </a:ext>
          </a:extLst>
        </cdr:cNvPr>
        <cdr:cNvCxnSpPr/>
      </cdr:nvCxnSpPr>
      <cdr:spPr bwMode="auto">
        <a:xfrm xmlns:a="http://schemas.openxmlformats.org/drawingml/2006/main" flipV="1">
          <a:off x="1944786" y="1449087"/>
          <a:ext cx="0" cy="227873"/>
        </a:xfrm>
        <a:prstGeom xmlns:a="http://schemas.openxmlformats.org/drawingml/2006/main" prst="straightConnector1">
          <a:avLst/>
        </a:prstGeom>
        <a:noFill xmlns:a="http://schemas.openxmlformats.org/drawingml/2006/main"/>
        <a:ln xmlns:a="http://schemas.openxmlformats.org/drawingml/2006/main" w="9525" cap="flat" cmpd="sng" algn="ctr">
          <a:solidFill>
            <a:schemeClr val="tx1"/>
          </a:solidFill>
          <a:prstDash val="solid"/>
          <a:round/>
          <a:headEnd type="none" w="med" len="med"/>
          <a:tailEnd type="triangle"/>
        </a:ln>
        <a:effectLst xmlns:a="http://schemas.openxmlformats.org/drawingml/2006/main"/>
      </cdr:spPr>
    </cdr:cxnSp>
  </cdr:relSizeAnchor>
  <cdr:relSizeAnchor xmlns:cdr="http://schemas.openxmlformats.org/drawingml/2006/chartDrawing">
    <cdr:from>
      <cdr:x>0.35711</cdr:x>
      <cdr:y>0.49822</cdr:y>
    </cdr:from>
    <cdr:to>
      <cdr:x>0.55827</cdr:x>
      <cdr:y>0.54514</cdr:y>
    </cdr:to>
    <cdr:sp macro="" textlink="">
      <cdr:nvSpPr>
        <cdr:cNvPr id="15" name="TextBox 14">
          <a:extLst xmlns:a="http://schemas.openxmlformats.org/drawingml/2006/main">
            <a:ext uri="{FF2B5EF4-FFF2-40B4-BE49-F238E27FC236}">
              <a16:creationId xmlns:a16="http://schemas.microsoft.com/office/drawing/2014/main" id="{07057623-D7E6-41A6-A621-2EC9693154E1}"/>
            </a:ext>
          </a:extLst>
        </cdr:cNvPr>
        <cdr:cNvSpPr txBox="1"/>
      </cdr:nvSpPr>
      <cdr:spPr>
        <a:xfrm xmlns:a="http://schemas.openxmlformats.org/drawingml/2006/main">
          <a:off x="1532600" y="1672537"/>
          <a:ext cx="863302" cy="15751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indent="0" algn="ctr">
            <a:lnSpc>
              <a:spcPts val="1600"/>
            </a:lnSpc>
          </a:pPr>
          <a:r>
            <a:rPr lang="en-GB" sz="1200" kern="1200" dirty="0">
              <a:solidFill>
                <a:schemeClr val="tx1"/>
              </a:solidFill>
              <a:latin typeface="Univers for BP" panose="020B0603020202020204" pitchFamily="34" charset="0"/>
              <a:ea typeface="Univers 55"/>
              <a:cs typeface="Univers 55"/>
            </a:rPr>
            <a:t>Power</a:t>
          </a:r>
        </a:p>
      </cdr:txBody>
    </cdr:sp>
  </cdr:relSizeAnchor>
  <cdr:relSizeAnchor xmlns:cdr="http://schemas.openxmlformats.org/drawingml/2006/chartDrawing">
    <cdr:from>
      <cdr:x>0.36023</cdr:x>
      <cdr:y>0.0723</cdr:y>
    </cdr:from>
    <cdr:to>
      <cdr:x>0.70443</cdr:x>
      <cdr:y>0.161</cdr:y>
    </cdr:to>
    <cdr:sp macro="" textlink="">
      <cdr:nvSpPr>
        <cdr:cNvPr id="16" name="TextBox 15">
          <a:extLst xmlns:a="http://schemas.openxmlformats.org/drawingml/2006/main">
            <a:ext uri="{FF2B5EF4-FFF2-40B4-BE49-F238E27FC236}">
              <a16:creationId xmlns:a16="http://schemas.microsoft.com/office/drawing/2014/main" id="{076701D3-7854-43B6-973F-62D8F918DE1B}"/>
            </a:ext>
          </a:extLst>
        </cdr:cNvPr>
        <cdr:cNvSpPr txBox="1"/>
      </cdr:nvSpPr>
      <cdr:spPr>
        <a:xfrm xmlns:a="http://schemas.openxmlformats.org/drawingml/2006/main">
          <a:off x="1504942" y="258904"/>
          <a:ext cx="1438005" cy="31762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lnSpc>
              <a:spcPts val="1400"/>
            </a:lnSpc>
          </a:pPr>
          <a:r>
            <a:rPr lang="en-GB" sz="1200" kern="1200" dirty="0">
              <a:solidFill>
                <a:schemeClr val="tx1"/>
              </a:solidFill>
              <a:latin typeface="Univers for BP" panose="020B0603020202020204" pitchFamily="34" charset="0"/>
              <a:ea typeface="Univers 55"/>
              <a:cs typeface="Univers 55"/>
            </a:rPr>
            <a:t>Fuel</a:t>
          </a:r>
          <a:r>
            <a:rPr lang="en-GB" sz="1200" dirty="0">
              <a:solidFill>
                <a:schemeClr val="tx1"/>
              </a:solidFill>
              <a:latin typeface="Univers for BP" panose="020B0603020202020204" pitchFamily="34" charset="0"/>
            </a:rPr>
            <a:t> switching</a:t>
          </a:r>
        </a:p>
      </cdr:txBody>
    </cdr:sp>
  </cdr:relSizeAnchor>
  <cdr:relSizeAnchor xmlns:cdr="http://schemas.openxmlformats.org/drawingml/2006/chartDrawing">
    <cdr:from>
      <cdr:x>0.59647</cdr:x>
      <cdr:y>0.46626</cdr:y>
    </cdr:from>
    <cdr:to>
      <cdr:x>0.59647</cdr:x>
      <cdr:y>0.55366</cdr:y>
    </cdr:to>
    <cdr:cxnSp macro="">
      <cdr:nvCxnSpPr>
        <cdr:cNvPr id="14" name="Straight Arrow Connector 13">
          <a:extLst xmlns:a="http://schemas.openxmlformats.org/drawingml/2006/main">
            <a:ext uri="{FF2B5EF4-FFF2-40B4-BE49-F238E27FC236}">
              <a16:creationId xmlns:a16="http://schemas.microsoft.com/office/drawing/2014/main" id="{BF25A03D-D024-4AF0-AF9C-11F5DFFABA69}"/>
            </a:ext>
          </a:extLst>
        </cdr:cNvPr>
        <cdr:cNvCxnSpPr/>
      </cdr:nvCxnSpPr>
      <cdr:spPr bwMode="auto">
        <a:xfrm xmlns:a="http://schemas.openxmlformats.org/drawingml/2006/main" flipV="1">
          <a:off x="2559815" y="1565244"/>
          <a:ext cx="0" cy="293401"/>
        </a:xfrm>
        <a:prstGeom xmlns:a="http://schemas.openxmlformats.org/drawingml/2006/main" prst="straightConnector1">
          <a:avLst/>
        </a:prstGeom>
        <a:noFill xmlns:a="http://schemas.openxmlformats.org/drawingml/2006/main"/>
        <a:ln xmlns:a="http://schemas.openxmlformats.org/drawingml/2006/main" w="9525" cap="flat" cmpd="sng" algn="ctr">
          <a:solidFill>
            <a:schemeClr val="tx1"/>
          </a:solidFill>
          <a:prstDash val="solid"/>
          <a:round/>
          <a:headEnd type="none" w="med" len="med"/>
          <a:tailEnd type="triangle"/>
        </a:ln>
        <a:effectLst xmlns:a="http://schemas.openxmlformats.org/drawingml/2006/main"/>
      </cdr:spPr>
    </cdr:cxn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974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0399" y="9378264"/>
            <a:ext cx="2946123" cy="49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082" tIns="44539" rIns="89082" bIns="44539" numCol="1" anchor="b" anchorCtr="0" compatLnSpc="1">
            <a:prstTxWarp prst="textNoShape">
              <a:avLst/>
            </a:prstTxWarp>
          </a:bodyPr>
          <a:lstStyle>
            <a:lvl1pPr algn="r" defTabSz="892081">
              <a:defRPr sz="10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95199B79-E8A1-44AF-97D5-596FF48B274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275442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07950" y="738188"/>
            <a:ext cx="6584950" cy="3703637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04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062147" y="4690277"/>
            <a:ext cx="4695457" cy="444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082" tIns="44539" rIns="89082" bIns="4453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904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399" y="9378264"/>
            <a:ext cx="2946123" cy="49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9082" tIns="44539" rIns="89082" bIns="44539" numCol="1" anchor="b" anchorCtr="0" compatLnSpc="1">
            <a:prstTxWarp prst="textNoShape">
              <a:avLst/>
            </a:prstTxWarp>
          </a:bodyPr>
          <a:lstStyle>
            <a:lvl1pPr algn="r" defTabSz="892081">
              <a:defRPr sz="1000"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C83982A4-A38D-441B-BB88-15299DED2509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662312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kumimoji="1" sz="1000" kern="1200">
        <a:solidFill>
          <a:schemeClr val="tx1"/>
        </a:solidFill>
        <a:latin typeface="Univers 55" pitchFamily="2" charset="0"/>
        <a:ea typeface="+mn-ea"/>
        <a:cs typeface="Arial" charset="0"/>
      </a:defRPr>
    </a:lvl1pPr>
    <a:lvl2pPr marL="149084" indent="-147743" algn="l" rtl="0" eaLnBrk="0" fontAlgn="base" hangingPunct="0">
      <a:spcBef>
        <a:spcPct val="30000"/>
      </a:spcBef>
      <a:spcAft>
        <a:spcPct val="0"/>
      </a:spcAft>
      <a:buClr>
        <a:schemeClr val="accent1"/>
      </a:buClr>
      <a:buFont typeface="Univers 55" pitchFamily="2" charset="0"/>
      <a:buChar char="•"/>
      <a:defRPr kumimoji="1" sz="1000" kern="1200">
        <a:solidFill>
          <a:schemeClr val="tx1"/>
        </a:solidFill>
        <a:latin typeface="Univers 55" pitchFamily="2" charset="0"/>
        <a:ea typeface="+mn-ea"/>
        <a:cs typeface="Arial" charset="0"/>
      </a:defRPr>
    </a:lvl2pPr>
    <a:lvl3pPr marL="298159" indent="-147743" algn="l" rtl="0" eaLnBrk="0" fontAlgn="base" hangingPunct="0">
      <a:spcBef>
        <a:spcPct val="30000"/>
      </a:spcBef>
      <a:spcAft>
        <a:spcPct val="0"/>
      </a:spcAft>
      <a:buClr>
        <a:schemeClr val="accent1"/>
      </a:buClr>
      <a:buFont typeface="Univers 55" pitchFamily="2" charset="0"/>
      <a:buChar char="−"/>
      <a:defRPr kumimoji="1" sz="1000" kern="1200">
        <a:solidFill>
          <a:schemeClr val="tx1"/>
        </a:solidFill>
        <a:latin typeface="Univers 55" pitchFamily="2" charset="0"/>
        <a:ea typeface="+mn-ea"/>
        <a:cs typeface="Arial" charset="0"/>
      </a:defRPr>
    </a:lvl3pPr>
    <a:lvl4pPr marL="445891" indent="-146396" algn="l" rtl="0" eaLnBrk="0" fontAlgn="base" hangingPunct="0">
      <a:spcBef>
        <a:spcPct val="30000"/>
      </a:spcBef>
      <a:spcAft>
        <a:spcPct val="0"/>
      </a:spcAft>
      <a:buClr>
        <a:schemeClr val="accent1"/>
      </a:buClr>
      <a:buFont typeface="Univers 55" pitchFamily="2" charset="0"/>
      <a:buChar char="−"/>
      <a:defRPr kumimoji="1" sz="1000" kern="1200">
        <a:solidFill>
          <a:schemeClr val="tx1"/>
        </a:solidFill>
        <a:latin typeface="Univers 55" pitchFamily="2" charset="0"/>
        <a:ea typeface="+mn-ea"/>
        <a:cs typeface="Arial" charset="0"/>
      </a:defRPr>
    </a:lvl4pPr>
    <a:lvl5pPr marL="594969" indent="-147743" algn="l" rtl="0" eaLnBrk="0" fontAlgn="base" hangingPunct="0">
      <a:spcBef>
        <a:spcPct val="30000"/>
      </a:spcBef>
      <a:spcAft>
        <a:spcPct val="0"/>
      </a:spcAft>
      <a:buClr>
        <a:schemeClr val="accent1"/>
      </a:buClr>
      <a:buFont typeface="Univers 55" pitchFamily="2" charset="0"/>
      <a:buChar char="−"/>
      <a:defRPr kumimoji="1" sz="1000" kern="1200">
        <a:solidFill>
          <a:schemeClr val="tx1"/>
        </a:solidFill>
        <a:latin typeface="Univers 55" pitchFamily="2" charset="0"/>
        <a:ea typeface="+mn-ea"/>
        <a:cs typeface="Arial" charset="0"/>
      </a:defRPr>
    </a:lvl5pPr>
    <a:lvl6pPr marL="1933982" algn="l" defTabSz="77359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20782" algn="l" defTabSz="77359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07583" algn="l" defTabSz="77359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094371" algn="l" defTabSz="77359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A378F3-ED09-484E-B190-BA14F2903571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00466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A378F3-ED09-484E-B190-BA14F2903571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31126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5698320"/>
              </p:ext>
            </p:extLst>
          </p:nvPr>
        </p:nvGraphicFramePr>
        <p:xfrm>
          <a:off x="1474" y="119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4" y="119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9244" y="168043"/>
            <a:ext cx="7801223" cy="697706"/>
          </a:xfrm>
        </p:spPr>
        <p:txBody>
          <a:bodyPr/>
          <a:lstStyle>
            <a:lvl1pPr>
              <a:defRPr sz="1900">
                <a:latin typeface="Univers for BP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Rectangle 29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4320000" y="4921711"/>
            <a:ext cx="347662" cy="164306"/>
          </a:xfrm>
          <a:ln/>
        </p:spPr>
        <p:txBody>
          <a:bodyPr/>
          <a:lstStyle>
            <a:lvl1pPr>
              <a:defRPr b="1"/>
            </a:lvl1pPr>
          </a:lstStyle>
          <a:p>
            <a:fld id="{E0AB9AF9-7062-4F55-92F8-2847C3F2B5F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09230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CE816E-93D8-421E-B221-0EA05F0AF9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C416375-D152-48F5-A117-6CD12B79A6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9A3D40A-F2A3-4E03-88EE-A8921C90E18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86DCAD3-8A97-49DB-B52F-9EAD31113E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223805-5329-4439-8D23-D2F516DDB8D9}" type="datetimeFigureOut">
              <a:rPr lang="en-GB" smtClean="0"/>
              <a:t>18/01/2019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348051B-3548-4250-AC9B-5A5672B0F7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E27F66-EE61-4E01-8830-2A980737EE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2E4F4D-19A7-42D9-9E5A-222A5EAC933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93834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DE8BFE-AF3D-40F0-81A5-7250827542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1AED44-B4E4-4CAB-8E93-58D80561A5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D88BC12-B7CD-4F9C-AAC4-B98A4C8F3DF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5569E5E-D499-4693-942B-F1BAC4B2FE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223805-5329-4439-8D23-D2F516DDB8D9}" type="datetimeFigureOut">
              <a:rPr lang="en-GB" smtClean="0"/>
              <a:t>18/01/2019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BF4365-53E3-4AAC-B7C3-84EB1F907E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18384CB-E42F-490C-9EB9-24F9780276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2E4F4D-19A7-42D9-9E5A-222A5EAC933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21973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301639-3643-42FF-A57A-5C98C0A942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449D1E1-4CA7-4080-A2E9-25C64094AFA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2768C7-0513-41BA-967C-F8CFCB19CE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223805-5329-4439-8D23-D2F516DDB8D9}" type="datetimeFigureOut">
              <a:rPr lang="en-GB" smtClean="0"/>
              <a:t>18/01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D63F924-A154-44A1-864B-CD6EBCDA61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261917-61B8-461D-8B32-4A29DF428D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2E4F4D-19A7-42D9-9E5A-222A5EAC933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14379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A211C92-C9BA-48F5-8C3B-4DDE2AA169A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019968C-DDCC-4BE3-A83C-A145A9C9FAA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B9FFBD-10BA-4F05-8A6F-1F67939A45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223805-5329-4439-8D23-D2F516DDB8D9}" type="datetimeFigureOut">
              <a:rPr lang="en-GB" smtClean="0"/>
              <a:t>18/01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BEE438-0A01-4E6D-A589-A8A007B61C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BA28B3-35E0-4E3C-BABC-5D47F16682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2E4F4D-19A7-42D9-9E5A-222A5EAC933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832447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74" y="119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4" y="119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9244" y="168043"/>
            <a:ext cx="7801223" cy="697706"/>
          </a:xfrm>
        </p:spPr>
        <p:txBody>
          <a:bodyPr/>
          <a:lstStyle>
            <a:lvl1pPr>
              <a:defRPr sz="1900">
                <a:latin typeface="Univers for BP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Rectangle 29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4320000" y="4921711"/>
            <a:ext cx="347662" cy="164306"/>
          </a:xfrm>
          <a:ln/>
        </p:spPr>
        <p:txBody>
          <a:bodyPr/>
          <a:lstStyle>
            <a:lvl1pPr>
              <a:defRPr b="1"/>
            </a:lvl1pPr>
          </a:lstStyle>
          <a:p>
            <a:fld id="{E0AB9AF9-7062-4F55-92F8-2847C3F2B5F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24857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71" y="119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1" y="119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6522" y="1019434"/>
            <a:ext cx="7727950" cy="367613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29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4314430" y="4916255"/>
            <a:ext cx="349250" cy="16430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6A250D-C4D7-4BBE-A276-28AC8ED2D3FA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373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739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2" y="2734048"/>
            <a:ext cx="6945313" cy="1209675"/>
          </a:xfrm>
        </p:spPr>
        <p:txBody>
          <a:bodyPr lIns="576000" rIns="36000" bIns="360000"/>
          <a:lstStyle>
            <a:lvl1pPr>
              <a:defRPr sz="2800">
                <a:latin typeface="Univers Next W1G for BP Light" pitchFamily="34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827398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77852" y="3886175"/>
            <a:ext cx="4664075" cy="485775"/>
          </a:xfrm>
          <a:noFill/>
          <a:extLst/>
        </p:spPr>
        <p:txBody>
          <a:bodyPr wrap="none" lIns="91440" tIns="45720" rIns="36000" anchor="ctr"/>
          <a:lstStyle>
            <a:lvl1pPr marL="0" indent="0">
              <a:lnSpc>
                <a:spcPct val="90000"/>
              </a:lnSpc>
              <a:spcBef>
                <a:spcPct val="0"/>
              </a:spcBef>
              <a:buClr>
                <a:schemeClr val="bg1"/>
              </a:buClr>
              <a:buFontTx/>
              <a:buNone/>
              <a:defRPr sz="1600">
                <a:solidFill>
                  <a:schemeClr val="tx2"/>
                </a:solidFill>
                <a:latin typeface="Univers Next W1G for BP Light" pitchFamily="34" charset="0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4372" y="1"/>
            <a:ext cx="1336675" cy="166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846226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72" y="1196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2" y="1196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650">
                <a:latin typeface="Univers for BP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Rectangle 29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4320000" y="4927835"/>
            <a:ext cx="347662" cy="164306"/>
          </a:xfrm>
          <a:ln/>
        </p:spPr>
        <p:txBody>
          <a:bodyPr/>
          <a:lstStyle>
            <a:lvl1pPr>
              <a:defRPr b="1"/>
            </a:lvl1pPr>
          </a:lstStyle>
          <a:p>
            <a:fld id="{E0AB9AF9-7062-4F55-92F8-2847C3F2B5F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84674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9" y="1196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9" y="1196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Rectangle 29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4321965" y="4922378"/>
            <a:ext cx="349250" cy="16430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6A250D-C4D7-4BBE-A276-28AC8ED2D3FA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90176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9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4320000" y="4921232"/>
            <a:ext cx="347662" cy="164306"/>
          </a:xfrm>
          <a:ln/>
        </p:spPr>
        <p:txBody>
          <a:bodyPr/>
          <a:lstStyle>
            <a:lvl1pPr>
              <a:defRPr/>
            </a:lvl1pPr>
          </a:lstStyle>
          <a:p>
            <a:fld id="{F10DB535-9078-4971-9949-589D5896A779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47350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4210378"/>
              </p:ext>
            </p:extLst>
          </p:nvPr>
        </p:nvGraphicFramePr>
        <p:xfrm>
          <a:off x="1471" y="119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1" y="119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6522" y="1019434"/>
            <a:ext cx="7727950" cy="367613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Rectangle 29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4314430" y="4916255"/>
            <a:ext cx="349250" cy="16430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6A250D-C4D7-4BBE-A276-28AC8ED2D3FA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9913D56-DEFC-4FAE-A151-294F5527AE1C}"/>
              </a:ext>
            </a:extLst>
          </p:cNvPr>
          <p:cNvSpPr/>
          <p:nvPr userDrawn="1"/>
        </p:nvSpPr>
        <p:spPr>
          <a:xfrm>
            <a:off x="339290" y="310414"/>
            <a:ext cx="42901" cy="718286"/>
          </a:xfrm>
          <a:prstGeom prst="rect">
            <a:avLst/>
          </a:pr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GB" sz="14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824878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71" y="119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1" y="119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9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4320000" y="4921711"/>
            <a:ext cx="347662" cy="164306"/>
          </a:xfrm>
          <a:ln/>
        </p:spPr>
        <p:txBody>
          <a:bodyPr/>
          <a:lstStyle>
            <a:lvl1pPr>
              <a:defRPr b="1"/>
            </a:lvl1pPr>
          </a:lstStyle>
          <a:p>
            <a:fld id="{E0AB9AF9-7062-4F55-92F8-2847C3F2B5F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94297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72" y="1196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2" y="1196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650">
                <a:latin typeface="Univers for BP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Rectangle 29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4320000" y="4927835"/>
            <a:ext cx="347662" cy="164306"/>
          </a:xfrm>
          <a:ln/>
        </p:spPr>
        <p:txBody>
          <a:bodyPr/>
          <a:lstStyle>
            <a:lvl1pPr>
              <a:defRPr b="1"/>
            </a:lvl1pPr>
          </a:lstStyle>
          <a:p>
            <a:fld id="{E0AB9AF9-7062-4F55-92F8-2847C3F2B5F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74167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9" y="1196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9" y="1196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Rectangle 29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4321965" y="4922378"/>
            <a:ext cx="349250" cy="16430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6A250D-C4D7-4BBE-A276-28AC8ED2D3FA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02881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9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4320000" y="4921232"/>
            <a:ext cx="347662" cy="164306"/>
          </a:xfrm>
          <a:ln/>
        </p:spPr>
        <p:txBody>
          <a:bodyPr/>
          <a:lstStyle>
            <a:lvl1pPr>
              <a:defRPr/>
            </a:lvl1pPr>
          </a:lstStyle>
          <a:p>
            <a:fld id="{F10DB535-9078-4971-9949-589D5896A779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85246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71" y="119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1" y="119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9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4320000" y="4921711"/>
            <a:ext cx="347662" cy="164306"/>
          </a:xfrm>
          <a:ln/>
        </p:spPr>
        <p:txBody>
          <a:bodyPr/>
          <a:lstStyle>
            <a:lvl1pPr>
              <a:defRPr b="1"/>
            </a:lvl1pPr>
          </a:lstStyle>
          <a:p>
            <a:fld id="{E0AB9AF9-7062-4F55-92F8-2847C3F2B5F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60618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72" y="1196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2" y="1196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650">
                <a:latin typeface="Univers for BP" panose="020B0603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Rectangle 29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4320000" y="4927835"/>
            <a:ext cx="347662" cy="164306"/>
          </a:xfrm>
          <a:ln/>
        </p:spPr>
        <p:txBody>
          <a:bodyPr/>
          <a:lstStyle>
            <a:lvl1pPr>
              <a:defRPr b="1"/>
            </a:lvl1pPr>
          </a:lstStyle>
          <a:p>
            <a:fld id="{E0AB9AF9-7062-4F55-92F8-2847C3F2B5F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26544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9" y="1196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9" y="1196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Rectangle 29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4321965" y="4922378"/>
            <a:ext cx="349250" cy="164307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6A250D-C4D7-4BBE-A276-28AC8ED2D3FA}" type="slidenum">
              <a:rPr lang="en-GB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00078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9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4320000" y="4921232"/>
            <a:ext cx="347662" cy="164306"/>
          </a:xfrm>
          <a:ln/>
        </p:spPr>
        <p:txBody>
          <a:bodyPr/>
          <a:lstStyle>
            <a:lvl1pPr>
              <a:defRPr/>
            </a:lvl1pPr>
          </a:lstStyle>
          <a:p>
            <a:fld id="{F10DB535-9078-4971-9949-589D5896A779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51404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71" y="119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1" y="119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9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4320000" y="4921711"/>
            <a:ext cx="347662" cy="164306"/>
          </a:xfrm>
          <a:ln/>
        </p:spPr>
        <p:txBody>
          <a:bodyPr/>
          <a:lstStyle>
            <a:lvl1pPr>
              <a:defRPr b="1"/>
            </a:lvl1pPr>
          </a:lstStyle>
          <a:p>
            <a:fld id="{E0AB9AF9-7062-4F55-92F8-2847C3F2B5F2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95235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DE8600-EC7D-4328-908B-2FBFC86C711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CD7C9EC-B2D5-468D-8BA3-A64F0D2C96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743086-B63D-4E41-9EE3-43CD871055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223805-5329-4439-8D23-D2F516DDB8D9}" type="datetimeFigureOut">
              <a:rPr lang="en-GB" smtClean="0"/>
              <a:t>18/01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4C0EDE-2FA0-4C2E-8897-675BC029FC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D20761-2D31-4A2E-96FC-439E3C6140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2E4F4D-19A7-42D9-9E5A-222A5EAC933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35496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CB303E-1FCB-4C94-B16E-EA880AFB40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AB57798-CC5D-4965-AD76-2B77971DD6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AD0676-3900-4734-8E27-904AAD1CB8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223805-5329-4439-8D23-D2F516DDB8D9}" type="datetimeFigureOut">
              <a:rPr lang="en-GB" smtClean="0"/>
              <a:t>18/01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F8B686-F61B-4DC2-8B0C-BBE6B52F23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AE9869-1015-4C72-8B83-3F1010B7DB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2E4F4D-19A7-42D9-9E5A-222A5EAC933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62128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66D869-FE5B-4B7F-A3A2-17FB36457A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1E974C-70DC-41D7-9A4D-08BB9F1C53C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5CDCB8-2269-4C10-989D-6D433CF5C8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223805-5329-4439-8D23-D2F516DDB8D9}" type="datetimeFigureOut">
              <a:rPr lang="en-GB" smtClean="0"/>
              <a:t>18/01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2DF414-70D8-447E-B48A-FA710A1D8E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940C7A9-A578-406C-81B2-2D314A9EEF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2E4F4D-19A7-42D9-9E5A-222A5EAC933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37480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418AF1-9735-410D-BBE0-09F61913CF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ABE76B-2123-4481-A6D5-40C77949C6A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653A8E5-33FC-4537-9EAB-15E21E34A50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E89BE11-9A63-4490-BFA5-B281ADCFC5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223805-5329-4439-8D23-D2F516DDB8D9}" type="datetimeFigureOut">
              <a:rPr lang="en-GB" smtClean="0"/>
              <a:t>18/01/2019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E8E1AE0-2B0E-4F19-830C-B9D55C3319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BC5AB7F-BBFF-4FCD-9F85-E0572BC7CC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2E4F4D-19A7-42D9-9E5A-222A5EAC933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73869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F3C353-6C56-4504-BE18-442637A712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27FD928-5ED3-41D7-859C-681004AEFE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0F2B715-DCF8-4EBA-918B-BA93827095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1DFEC59-7D34-4D42-B638-7F326EA2E26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524DDEE-5AE8-4DB7-8788-F620A8F8B31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D0258DE-55DC-4EFD-8B16-4D459B22E6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223805-5329-4439-8D23-D2F516DDB8D9}" type="datetimeFigureOut">
              <a:rPr lang="en-GB" smtClean="0"/>
              <a:t>18/01/2019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5400A29-D65A-4327-89FA-B364D0A38B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4807D66-AF64-4FAC-AE10-5EDADFEF0B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2E4F4D-19A7-42D9-9E5A-222A5EAC933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97498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69724A-3169-4EDC-A11C-252EFD97E7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5582AF-F7B1-4E04-945B-8AEBF99154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223805-5329-4439-8D23-D2F516DDB8D9}" type="datetimeFigureOut">
              <a:rPr lang="en-GB" smtClean="0"/>
              <a:t>18/01/2019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B5CFC32-ED60-459E-B16A-19AE42F6D2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21F884C-FF36-4432-96C0-4FA147CF9D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2E4F4D-19A7-42D9-9E5A-222A5EAC933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51827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4406EC3-6C3E-459E-9E51-46A520B07E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223805-5329-4439-8D23-D2F516DDB8D9}" type="datetimeFigureOut">
              <a:rPr lang="en-GB" smtClean="0"/>
              <a:t>18/01/2019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192028C-0B71-4687-A086-BCAE2C4633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18346D-6798-4CB6-8DAD-F29A18F7CD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2E4F4D-19A7-42D9-9E5A-222A5EAC933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00046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6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ags" Target="../tags/tag5.xml"/><Relationship Id="rId5" Type="http://schemas.openxmlformats.org/officeDocument/2006/relationships/vmlDrawing" Target="../drawings/vmlDrawing4.vml"/><Relationship Id="rId4" Type="http://schemas.openxmlformats.org/officeDocument/2006/relationships/theme" Target="../theme/theme3.xml"/><Relationship Id="rId9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slideLayout" Target="../slideLayouts/slideLayout19.xml"/><Relationship Id="rId7" Type="http://schemas.openxmlformats.org/officeDocument/2006/relationships/tags" Target="../tags/tag8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vmlDrawing" Target="../drawings/vmlDrawing7.vml"/><Relationship Id="rId5" Type="http://schemas.openxmlformats.org/officeDocument/2006/relationships/theme" Target="../theme/theme4.xml"/><Relationship Id="rId10" Type="http://schemas.openxmlformats.org/officeDocument/2006/relationships/image" Target="../media/image3.wmf"/><Relationship Id="rId4" Type="http://schemas.openxmlformats.org/officeDocument/2006/relationships/slideLayout" Target="../slideLayouts/slideLayout20.xml"/><Relationship Id="rId9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slideLayout" Target="../slideLayouts/slideLayout23.xml"/><Relationship Id="rId7" Type="http://schemas.openxmlformats.org/officeDocument/2006/relationships/tags" Target="../tags/tag12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vmlDrawing" Target="../drawings/vmlDrawing11.vml"/><Relationship Id="rId5" Type="http://schemas.openxmlformats.org/officeDocument/2006/relationships/theme" Target="../theme/theme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slideLayout" Target="../slideLayouts/slideLayout27.xml"/><Relationship Id="rId7" Type="http://schemas.openxmlformats.org/officeDocument/2006/relationships/tags" Target="../tags/tag1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vmlDrawing" Target="../drawings/vmlDrawing15.vml"/><Relationship Id="rId5" Type="http://schemas.openxmlformats.org/officeDocument/2006/relationships/theme" Target="../theme/theme6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28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925882109"/>
              </p:ext>
            </p:extLst>
          </p:nvPr>
        </p:nvGraphicFramePr>
        <p:xfrm>
          <a:off x="1474" y="119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74" y="119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0" y="181492"/>
            <a:ext cx="8153400" cy="6977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29477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028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86522" y="1019434"/>
            <a:ext cx="7727950" cy="3676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77919" bIns="3896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26397" name="Rectangle 2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320000" y="4921048"/>
            <a:ext cx="347662" cy="1643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77919" tIns="38960" rIns="77919" bIns="38960" numCol="1" anchor="t" anchorCtr="0" compatLnSpc="1">
            <a:prstTxWarp prst="textNoShape">
              <a:avLst/>
            </a:prstTxWarp>
          </a:bodyPr>
          <a:lstStyle>
            <a:lvl1pPr algn="r">
              <a:defRPr b="1">
                <a:solidFill>
                  <a:schemeClr val="tx1"/>
                </a:solidFill>
                <a:latin typeface="Univers for BP Light" panose="020B0403020202020204" pitchFamily="34" charset="0"/>
              </a:defRPr>
            </a:lvl1pPr>
          </a:lstStyle>
          <a:p>
            <a:fld id="{9D706D9E-7124-4078-90FA-E7ABB087F280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933156" y="4913983"/>
            <a:ext cx="994128" cy="244880"/>
          </a:xfrm>
          <a:prstGeom prst="rect">
            <a:avLst/>
          </a:prstGeom>
          <a:noFill/>
        </p:spPr>
        <p:txBody>
          <a:bodyPr wrap="none" lIns="77919" tIns="38960" rIns="77919" bIns="38960" rtlCol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GB" sz="900" dirty="0">
                <a:solidFill>
                  <a:schemeClr val="tx1"/>
                </a:solidFill>
                <a:latin typeface="Univers for BP Light" panose="020B0403020202020204" pitchFamily="34" charset="0"/>
              </a:rPr>
              <a:t>© BP </a:t>
            </a:r>
            <a:r>
              <a:rPr lang="en-GB" sz="900" dirty="0" err="1">
                <a:solidFill>
                  <a:schemeClr val="tx1"/>
                </a:solidFill>
                <a:latin typeface="Univers for BP Light" panose="020B0403020202020204" pitchFamily="34" charset="0"/>
              </a:rPr>
              <a:t>p.l.c</a:t>
            </a:r>
            <a:r>
              <a:rPr lang="en-GB" sz="900" dirty="0">
                <a:solidFill>
                  <a:schemeClr val="tx1"/>
                </a:solidFill>
                <a:latin typeface="Univers for BP Light" panose="020B0403020202020204" pitchFamily="34" charset="0"/>
              </a:rPr>
              <a:t>. 2018</a:t>
            </a:r>
          </a:p>
        </p:txBody>
      </p:sp>
      <p:pic>
        <p:nvPicPr>
          <p:cNvPr id="11" name="Picture 4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3424" y="5479"/>
            <a:ext cx="635779" cy="79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47511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55" r:id="rId1"/>
    <p:sldLayoutId id="2147485256" r:id="rId2"/>
  </p:sldLayoutIdLst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900">
          <a:solidFill>
            <a:srgbClr val="009900"/>
          </a:solidFill>
          <a:latin typeface="Univers for BP" panose="020B060302020202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9900"/>
          </a:solidFill>
          <a:latin typeface="Univers 55" pitchFamily="2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9900"/>
          </a:solidFill>
          <a:latin typeface="Univers 55" pitchFamily="2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9900"/>
          </a:solidFill>
          <a:latin typeface="Univers 55" pitchFamily="2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9900"/>
          </a:solidFill>
          <a:latin typeface="Univers 55" pitchFamily="2" charset="0"/>
          <a:cs typeface="Arial" charset="0"/>
        </a:defRPr>
      </a:lvl5pPr>
      <a:lvl6pPr marL="38959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9900"/>
          </a:solidFill>
          <a:latin typeface="Univers 55" pitchFamily="2" charset="0"/>
          <a:cs typeface="Arial" charset="0"/>
        </a:defRPr>
      </a:lvl6pPr>
      <a:lvl7pPr marL="77919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9900"/>
          </a:solidFill>
          <a:latin typeface="Univers 55" pitchFamily="2" charset="0"/>
          <a:cs typeface="Arial" charset="0"/>
        </a:defRPr>
      </a:lvl7pPr>
      <a:lvl8pPr marL="116879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9900"/>
          </a:solidFill>
          <a:latin typeface="Univers 55" pitchFamily="2" charset="0"/>
          <a:cs typeface="Arial" charset="0"/>
        </a:defRPr>
      </a:lvl8pPr>
      <a:lvl9pPr marL="155838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9900"/>
          </a:solidFill>
          <a:latin typeface="Univers 55" pitchFamily="2" charset="0"/>
          <a:cs typeface="Arial" charset="0"/>
        </a:defRPr>
      </a:lvl9pPr>
    </p:titleStyle>
    <p:bodyStyle>
      <a:lvl1pPr marL="234029" indent="-234029" algn="l" rtl="0" eaLnBrk="1" fontAlgn="base" hangingPunct="1">
        <a:spcBef>
          <a:spcPct val="50000"/>
        </a:spcBef>
        <a:spcAft>
          <a:spcPct val="0"/>
        </a:spcAft>
        <a:buClr>
          <a:srgbClr val="009900"/>
        </a:buClr>
        <a:buSzPct val="100000"/>
        <a:buFont typeface="Univers for BP" panose="020B0603020202020204" pitchFamily="34" charset="0"/>
        <a:buChar char="•"/>
        <a:defRPr sz="1500">
          <a:solidFill>
            <a:schemeClr val="tx1"/>
          </a:solidFill>
          <a:latin typeface="Univers for BP Light" panose="020B0403020202020204" pitchFamily="34" charset="0"/>
          <a:ea typeface="+mn-ea"/>
          <a:cs typeface="+mn-cs"/>
        </a:defRPr>
      </a:lvl1pPr>
      <a:lvl2pPr marL="468056" indent="-232676" algn="l" rtl="0" eaLnBrk="1" fontAlgn="base" hangingPunct="1">
        <a:spcBef>
          <a:spcPct val="50000"/>
        </a:spcBef>
        <a:spcAft>
          <a:spcPct val="0"/>
        </a:spcAft>
        <a:buClr>
          <a:srgbClr val="009900"/>
        </a:buClr>
        <a:buFont typeface="Univers for BP" panose="020B0603020202020204" pitchFamily="34" charset="0"/>
        <a:buChar char="–"/>
        <a:defRPr sz="1500">
          <a:solidFill>
            <a:schemeClr val="tx1"/>
          </a:solidFill>
          <a:latin typeface="Univers for BP Light" panose="020B0403020202020204" pitchFamily="34" charset="0"/>
          <a:cs typeface="+mn-cs"/>
        </a:defRPr>
      </a:lvl2pPr>
      <a:lvl3pPr marL="688559" indent="-219149" algn="l" rtl="0" eaLnBrk="1" fontAlgn="base" hangingPunct="1">
        <a:spcBef>
          <a:spcPct val="50000"/>
        </a:spcBef>
        <a:spcAft>
          <a:spcPct val="0"/>
        </a:spcAft>
        <a:buClr>
          <a:srgbClr val="009900"/>
        </a:buClr>
        <a:buFont typeface="Univers for BP" panose="020B0603020202020204" pitchFamily="34" charset="0"/>
        <a:buChar char="–"/>
        <a:defRPr sz="1500">
          <a:solidFill>
            <a:schemeClr val="tx1"/>
          </a:solidFill>
          <a:latin typeface="Univers for BP Light" panose="020B0403020202020204" pitchFamily="34" charset="0"/>
          <a:cs typeface="+mn-cs"/>
        </a:defRPr>
      </a:lvl3pPr>
      <a:lvl4pPr marL="922587" indent="-232676" algn="l" rtl="0" eaLnBrk="1" fontAlgn="base" hangingPunct="1">
        <a:spcBef>
          <a:spcPct val="50000"/>
        </a:spcBef>
        <a:spcAft>
          <a:spcPct val="0"/>
        </a:spcAft>
        <a:buClr>
          <a:srgbClr val="009900"/>
        </a:buClr>
        <a:buFont typeface="Univers for BP" panose="020B0603020202020204" pitchFamily="34" charset="0"/>
        <a:buChar char="–"/>
        <a:defRPr sz="1500">
          <a:solidFill>
            <a:schemeClr val="tx1"/>
          </a:solidFill>
          <a:latin typeface="Univers for BP Light" panose="020B0403020202020204" pitchFamily="34" charset="0"/>
          <a:cs typeface="+mn-cs"/>
        </a:defRPr>
      </a:lvl4pPr>
      <a:lvl5pPr marL="1155262" indent="-231323" algn="l" rtl="0" eaLnBrk="1" fontAlgn="base" hangingPunct="1">
        <a:spcBef>
          <a:spcPct val="50000"/>
        </a:spcBef>
        <a:spcAft>
          <a:spcPct val="0"/>
        </a:spcAft>
        <a:buClr>
          <a:srgbClr val="009900"/>
        </a:buClr>
        <a:buFont typeface="Univers for BP" panose="020B0603020202020204" pitchFamily="34" charset="0"/>
        <a:buChar char="–"/>
        <a:defRPr sz="1500">
          <a:solidFill>
            <a:schemeClr val="tx1"/>
          </a:solidFill>
          <a:latin typeface="Univers for BP Light" panose="020B0403020202020204" pitchFamily="34" charset="0"/>
          <a:cs typeface="+mn-cs"/>
        </a:defRPr>
      </a:lvl5pPr>
      <a:lvl6pPr marL="1544858" indent="-231323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Univers 55" pitchFamily="2" charset="0"/>
        <a:buChar char="−"/>
        <a:defRPr>
          <a:solidFill>
            <a:schemeClr val="tx1"/>
          </a:solidFill>
          <a:latin typeface="+mn-lt"/>
          <a:cs typeface="+mn-cs"/>
        </a:defRPr>
      </a:lvl6pPr>
      <a:lvl7pPr marL="1934457" indent="-231323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Univers 55" pitchFamily="2" charset="0"/>
        <a:buChar char="−"/>
        <a:defRPr>
          <a:solidFill>
            <a:schemeClr val="tx1"/>
          </a:solidFill>
          <a:latin typeface="+mn-lt"/>
          <a:cs typeface="+mn-cs"/>
        </a:defRPr>
      </a:lvl7pPr>
      <a:lvl8pPr marL="2324052" indent="-231323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Univers 55" pitchFamily="2" charset="0"/>
        <a:buChar char="−"/>
        <a:defRPr>
          <a:solidFill>
            <a:schemeClr val="tx1"/>
          </a:solidFill>
          <a:latin typeface="+mn-lt"/>
          <a:cs typeface="+mn-cs"/>
        </a:defRPr>
      </a:lvl8pPr>
      <a:lvl9pPr marL="2713649" indent="-231323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Univers 55" pitchFamily="2" charset="0"/>
        <a:buChar char="−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77919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97" algn="l" defTabSz="77919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194" algn="l" defTabSz="77919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791" algn="l" defTabSz="77919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386" algn="l" defTabSz="77919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983" algn="l" defTabSz="77919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580" algn="l" defTabSz="77919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177" algn="l" defTabSz="77919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773" algn="l" defTabSz="77919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DFEDF67-1DDE-450D-9727-2CE01223C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8E71D5F-1141-434F-9639-C2EDF4B53C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625950-B1A9-4E42-A450-A11EE6D2F19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223805-5329-4439-8D23-D2F516DDB8D9}" type="datetimeFigureOut">
              <a:rPr lang="en-GB" smtClean="0"/>
              <a:t>18/01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556C9C-D99E-4CC0-8C7F-CB8F300F30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ACA7D0-C7FB-4ACF-A7EE-9D707F20AD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2E4F4D-19A7-42D9-9E5A-222A5EAC933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50777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79" r:id="rId1"/>
    <p:sldLayoutId id="2147485280" r:id="rId2"/>
    <p:sldLayoutId id="2147485281" r:id="rId3"/>
    <p:sldLayoutId id="2147485282" r:id="rId4"/>
    <p:sldLayoutId id="2147485283" r:id="rId5"/>
    <p:sldLayoutId id="2147485284" r:id="rId6"/>
    <p:sldLayoutId id="2147485285" r:id="rId7"/>
    <p:sldLayoutId id="2147485286" r:id="rId8"/>
    <p:sldLayoutId id="2147485287" r:id="rId9"/>
    <p:sldLayoutId id="2147485288" r:id="rId10"/>
    <p:sldLayoutId id="214748528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474" y="119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474" y="119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0" y="181492"/>
            <a:ext cx="8153400" cy="6977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29477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028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86522" y="1019434"/>
            <a:ext cx="7727950" cy="3676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77919" bIns="3896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26397" name="Rectangle 2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320000" y="4921048"/>
            <a:ext cx="347662" cy="1643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77919" tIns="38960" rIns="77919" bIns="38960" numCol="1" anchor="t" anchorCtr="0" compatLnSpc="1">
            <a:prstTxWarp prst="textNoShape">
              <a:avLst/>
            </a:prstTxWarp>
          </a:bodyPr>
          <a:lstStyle>
            <a:lvl1pPr algn="r">
              <a:defRPr b="1">
                <a:solidFill>
                  <a:schemeClr val="tx1"/>
                </a:solidFill>
                <a:latin typeface="Univers for BP Light" panose="020B0403020202020204" pitchFamily="34" charset="0"/>
              </a:defRPr>
            </a:lvl1pPr>
          </a:lstStyle>
          <a:p>
            <a:fld id="{9D706D9E-7124-4078-90FA-E7ABB087F280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933156" y="4913983"/>
            <a:ext cx="994128" cy="231864"/>
          </a:xfrm>
          <a:prstGeom prst="rect">
            <a:avLst/>
          </a:prstGeom>
          <a:noFill/>
        </p:spPr>
        <p:txBody>
          <a:bodyPr wrap="none" lIns="77919" tIns="38960" rIns="77919" bIns="38960" rtlCol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GB" sz="900" dirty="0">
                <a:solidFill>
                  <a:schemeClr val="tx1"/>
                </a:solidFill>
                <a:latin typeface="Univers for BP Light" panose="020B0403020202020204" pitchFamily="34" charset="0"/>
              </a:rPr>
              <a:t>© BP p.l.c. 2019</a:t>
            </a:r>
          </a:p>
        </p:txBody>
      </p:sp>
      <p:pic>
        <p:nvPicPr>
          <p:cNvPr id="11" name="Picture 4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3424" y="5479"/>
            <a:ext cx="635779" cy="79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83354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91" r:id="rId1"/>
    <p:sldLayoutId id="2147485292" r:id="rId2"/>
    <p:sldLayoutId id="2147485308" r:id="rId3"/>
  </p:sldLayoutIdLst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900">
          <a:solidFill>
            <a:srgbClr val="009900"/>
          </a:solidFill>
          <a:latin typeface="Univers for BP" panose="020B060302020202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9900"/>
          </a:solidFill>
          <a:latin typeface="Univers 55" pitchFamily="2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9900"/>
          </a:solidFill>
          <a:latin typeface="Univers 55" pitchFamily="2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9900"/>
          </a:solidFill>
          <a:latin typeface="Univers 55" pitchFamily="2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9900"/>
          </a:solidFill>
          <a:latin typeface="Univers 55" pitchFamily="2" charset="0"/>
          <a:cs typeface="Arial" charset="0"/>
        </a:defRPr>
      </a:lvl5pPr>
      <a:lvl6pPr marL="38959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9900"/>
          </a:solidFill>
          <a:latin typeface="Univers 55" pitchFamily="2" charset="0"/>
          <a:cs typeface="Arial" charset="0"/>
        </a:defRPr>
      </a:lvl6pPr>
      <a:lvl7pPr marL="77919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9900"/>
          </a:solidFill>
          <a:latin typeface="Univers 55" pitchFamily="2" charset="0"/>
          <a:cs typeface="Arial" charset="0"/>
        </a:defRPr>
      </a:lvl7pPr>
      <a:lvl8pPr marL="116879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9900"/>
          </a:solidFill>
          <a:latin typeface="Univers 55" pitchFamily="2" charset="0"/>
          <a:cs typeface="Arial" charset="0"/>
        </a:defRPr>
      </a:lvl8pPr>
      <a:lvl9pPr marL="155838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rgbClr val="009900"/>
          </a:solidFill>
          <a:latin typeface="Univers 55" pitchFamily="2" charset="0"/>
          <a:cs typeface="Arial" charset="0"/>
        </a:defRPr>
      </a:lvl9pPr>
    </p:titleStyle>
    <p:bodyStyle>
      <a:lvl1pPr marL="234029" indent="-234029" algn="l" rtl="0" eaLnBrk="1" fontAlgn="base" hangingPunct="1">
        <a:spcBef>
          <a:spcPct val="50000"/>
        </a:spcBef>
        <a:spcAft>
          <a:spcPct val="0"/>
        </a:spcAft>
        <a:buClr>
          <a:srgbClr val="009900"/>
        </a:buClr>
        <a:buSzPct val="100000"/>
        <a:buFont typeface="Univers for BP" panose="020B0603020202020204" pitchFamily="34" charset="0"/>
        <a:buChar char="•"/>
        <a:defRPr sz="1500">
          <a:solidFill>
            <a:schemeClr val="tx1"/>
          </a:solidFill>
          <a:latin typeface="Univers for BP Light" panose="020B0403020202020204" pitchFamily="34" charset="0"/>
          <a:ea typeface="+mn-ea"/>
          <a:cs typeface="+mn-cs"/>
        </a:defRPr>
      </a:lvl1pPr>
      <a:lvl2pPr marL="468056" indent="-232676" algn="l" rtl="0" eaLnBrk="1" fontAlgn="base" hangingPunct="1">
        <a:spcBef>
          <a:spcPct val="50000"/>
        </a:spcBef>
        <a:spcAft>
          <a:spcPct val="0"/>
        </a:spcAft>
        <a:buClr>
          <a:srgbClr val="009900"/>
        </a:buClr>
        <a:buFont typeface="Univers for BP" panose="020B0603020202020204" pitchFamily="34" charset="0"/>
        <a:buChar char="–"/>
        <a:defRPr sz="1500">
          <a:solidFill>
            <a:schemeClr val="tx1"/>
          </a:solidFill>
          <a:latin typeface="Univers for BP Light" panose="020B0403020202020204" pitchFamily="34" charset="0"/>
          <a:cs typeface="+mn-cs"/>
        </a:defRPr>
      </a:lvl2pPr>
      <a:lvl3pPr marL="688559" indent="-219149" algn="l" rtl="0" eaLnBrk="1" fontAlgn="base" hangingPunct="1">
        <a:spcBef>
          <a:spcPct val="50000"/>
        </a:spcBef>
        <a:spcAft>
          <a:spcPct val="0"/>
        </a:spcAft>
        <a:buClr>
          <a:srgbClr val="009900"/>
        </a:buClr>
        <a:buFont typeface="Univers for BP" panose="020B0603020202020204" pitchFamily="34" charset="0"/>
        <a:buChar char="–"/>
        <a:defRPr sz="1500">
          <a:solidFill>
            <a:schemeClr val="tx1"/>
          </a:solidFill>
          <a:latin typeface="Univers for BP Light" panose="020B0403020202020204" pitchFamily="34" charset="0"/>
          <a:cs typeface="+mn-cs"/>
        </a:defRPr>
      </a:lvl3pPr>
      <a:lvl4pPr marL="922587" indent="-232676" algn="l" rtl="0" eaLnBrk="1" fontAlgn="base" hangingPunct="1">
        <a:spcBef>
          <a:spcPct val="50000"/>
        </a:spcBef>
        <a:spcAft>
          <a:spcPct val="0"/>
        </a:spcAft>
        <a:buClr>
          <a:srgbClr val="009900"/>
        </a:buClr>
        <a:buFont typeface="Univers for BP" panose="020B0603020202020204" pitchFamily="34" charset="0"/>
        <a:buChar char="–"/>
        <a:defRPr sz="1500">
          <a:solidFill>
            <a:schemeClr val="tx1"/>
          </a:solidFill>
          <a:latin typeface="Univers for BP Light" panose="020B0403020202020204" pitchFamily="34" charset="0"/>
          <a:cs typeface="+mn-cs"/>
        </a:defRPr>
      </a:lvl4pPr>
      <a:lvl5pPr marL="1155262" indent="-231323" algn="l" rtl="0" eaLnBrk="1" fontAlgn="base" hangingPunct="1">
        <a:spcBef>
          <a:spcPct val="50000"/>
        </a:spcBef>
        <a:spcAft>
          <a:spcPct val="0"/>
        </a:spcAft>
        <a:buClr>
          <a:srgbClr val="009900"/>
        </a:buClr>
        <a:buFont typeface="Univers for BP" panose="020B0603020202020204" pitchFamily="34" charset="0"/>
        <a:buChar char="–"/>
        <a:defRPr sz="1500">
          <a:solidFill>
            <a:schemeClr val="tx1"/>
          </a:solidFill>
          <a:latin typeface="Univers for BP Light" panose="020B0403020202020204" pitchFamily="34" charset="0"/>
          <a:cs typeface="+mn-cs"/>
        </a:defRPr>
      </a:lvl5pPr>
      <a:lvl6pPr marL="1544858" indent="-231323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Univers 55" pitchFamily="2" charset="0"/>
        <a:buChar char="−"/>
        <a:defRPr>
          <a:solidFill>
            <a:schemeClr val="tx1"/>
          </a:solidFill>
          <a:latin typeface="+mn-lt"/>
          <a:cs typeface="+mn-cs"/>
        </a:defRPr>
      </a:lvl6pPr>
      <a:lvl7pPr marL="1934457" indent="-231323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Univers 55" pitchFamily="2" charset="0"/>
        <a:buChar char="−"/>
        <a:defRPr>
          <a:solidFill>
            <a:schemeClr val="tx1"/>
          </a:solidFill>
          <a:latin typeface="+mn-lt"/>
          <a:cs typeface="+mn-cs"/>
        </a:defRPr>
      </a:lvl7pPr>
      <a:lvl8pPr marL="2324052" indent="-231323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Univers 55" pitchFamily="2" charset="0"/>
        <a:buChar char="−"/>
        <a:defRPr>
          <a:solidFill>
            <a:schemeClr val="tx1"/>
          </a:solidFill>
          <a:latin typeface="+mn-lt"/>
          <a:cs typeface="+mn-cs"/>
        </a:defRPr>
      </a:lvl8pPr>
      <a:lvl9pPr marL="2713649" indent="-231323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Univers 55" pitchFamily="2" charset="0"/>
        <a:buChar char="−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77919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97" algn="l" defTabSz="77919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194" algn="l" defTabSz="77919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791" algn="l" defTabSz="77919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386" algn="l" defTabSz="77919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983" algn="l" defTabSz="77919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580" algn="l" defTabSz="77919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177" algn="l" defTabSz="77919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773" algn="l" defTabSz="779194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472" y="1196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472" y="1196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0" y="216043"/>
            <a:ext cx="8153400" cy="6977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50400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028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9750" y="895864"/>
            <a:ext cx="7727950" cy="3676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26397" name="Rectangle 2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320000" y="4921048"/>
            <a:ext cx="347662" cy="1643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b="1">
                <a:solidFill>
                  <a:schemeClr val="tx1"/>
                </a:solidFill>
                <a:latin typeface="Univers for BP Light" panose="020B0403020202020204" pitchFamily="34" charset="0"/>
              </a:defRPr>
            </a:lvl1pPr>
          </a:lstStyle>
          <a:p>
            <a:fld id="{9D706D9E-7124-4078-90FA-E7ABB087F280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670043" y="4785400"/>
            <a:ext cx="12346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GB" sz="750" i="1" dirty="0">
                <a:solidFill>
                  <a:srgbClr val="009900"/>
                </a:solidFill>
                <a:latin typeface="Univers for BP Light" panose="020B0403020202020204" pitchFamily="34" charset="0"/>
              </a:rPr>
              <a:t>2018</a:t>
            </a:r>
            <a:r>
              <a:rPr lang="en-GB" sz="750" i="1" baseline="0" dirty="0">
                <a:solidFill>
                  <a:srgbClr val="009900"/>
                </a:solidFill>
                <a:latin typeface="Univers for BP Light" panose="020B0403020202020204" pitchFamily="34" charset="0"/>
              </a:rPr>
              <a:t> </a:t>
            </a:r>
            <a:r>
              <a:rPr lang="en-GB" sz="750" i="1" dirty="0">
                <a:solidFill>
                  <a:srgbClr val="009900"/>
                </a:solidFill>
                <a:latin typeface="Univers for BP Light" panose="020B0403020202020204" pitchFamily="34" charset="0"/>
              </a:rPr>
              <a:t>BP Energy Outlook</a:t>
            </a:r>
          </a:p>
          <a:p>
            <a:pPr algn="r">
              <a:lnSpc>
                <a:spcPct val="120000"/>
              </a:lnSpc>
            </a:pPr>
            <a:r>
              <a:rPr lang="en-GB" sz="750" dirty="0">
                <a:solidFill>
                  <a:schemeClr val="tx1"/>
                </a:solidFill>
                <a:latin typeface="Univers for BP Light" panose="020B0403020202020204" pitchFamily="34" charset="0"/>
              </a:rPr>
              <a:t>© BP </a:t>
            </a:r>
            <a:r>
              <a:rPr lang="en-GB" sz="750" dirty="0" err="1">
                <a:solidFill>
                  <a:schemeClr val="tx1"/>
                </a:solidFill>
                <a:latin typeface="Univers for BP Light" panose="020B0403020202020204" pitchFamily="34" charset="0"/>
              </a:rPr>
              <a:t>p.l.c</a:t>
            </a:r>
            <a:r>
              <a:rPr lang="en-GB" sz="750" dirty="0">
                <a:solidFill>
                  <a:schemeClr val="tx1"/>
                </a:solidFill>
                <a:latin typeface="Univers for BP Light" panose="020B0403020202020204" pitchFamily="34" charset="0"/>
              </a:rPr>
              <a:t>. 2018</a:t>
            </a:r>
          </a:p>
        </p:txBody>
      </p:sp>
      <p:pic>
        <p:nvPicPr>
          <p:cNvPr id="9" name="Picture 2" descr="BPP_Rlbg">
            <a:extLst>
              <a:ext uri="{FF2B5EF4-FFF2-40B4-BE49-F238E27FC236}">
                <a16:creationId xmlns:a16="http://schemas.microsoft.com/office/drawing/2014/main" id="{1F478462-581A-4587-A040-0A6F6F57782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741" y="167183"/>
            <a:ext cx="483804" cy="5222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52812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94" r:id="rId1"/>
    <p:sldLayoutId id="2147485295" r:id="rId2"/>
    <p:sldLayoutId id="2147485296" r:id="rId3"/>
    <p:sldLayoutId id="2147485297" r:id="rId4"/>
  </p:sldLayoutIdLst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50">
          <a:solidFill>
            <a:srgbClr val="009900"/>
          </a:solidFill>
          <a:latin typeface="Univers for BP" panose="020B060302020202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9900"/>
          </a:solidFill>
          <a:latin typeface="Univers 55" pitchFamily="2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9900"/>
          </a:solidFill>
          <a:latin typeface="Univers 55" pitchFamily="2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9900"/>
          </a:solidFill>
          <a:latin typeface="Univers 55" pitchFamily="2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9900"/>
          </a:solidFill>
          <a:latin typeface="Univers 55" pitchFamily="2" charset="0"/>
          <a:cs typeface="Arial" charset="0"/>
        </a:defRPr>
      </a:lvl5pPr>
      <a:lvl6pPr marL="342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9900"/>
          </a:solidFill>
          <a:latin typeface="Univers 55" pitchFamily="2" charset="0"/>
          <a:cs typeface="Arial" charset="0"/>
        </a:defRPr>
      </a:lvl6pPr>
      <a:lvl7pPr marL="685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9900"/>
          </a:solidFill>
          <a:latin typeface="Univers 55" pitchFamily="2" charset="0"/>
          <a:cs typeface="Arial" charset="0"/>
        </a:defRPr>
      </a:lvl7pPr>
      <a:lvl8pPr marL="102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9900"/>
          </a:solidFill>
          <a:latin typeface="Univers 55" pitchFamily="2" charset="0"/>
          <a:cs typeface="Arial" charset="0"/>
        </a:defRPr>
      </a:lvl8pPr>
      <a:lvl9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9900"/>
          </a:solidFill>
          <a:latin typeface="Univers 55" pitchFamily="2" charset="0"/>
          <a:cs typeface="Arial" charset="0"/>
        </a:defRPr>
      </a:lvl9pPr>
    </p:titleStyle>
    <p:bodyStyle>
      <a:lvl1pPr marL="205979" indent="-205979" algn="l" rtl="0" eaLnBrk="1" fontAlgn="base" hangingPunct="1">
        <a:spcBef>
          <a:spcPct val="50000"/>
        </a:spcBef>
        <a:spcAft>
          <a:spcPct val="0"/>
        </a:spcAft>
        <a:buClr>
          <a:srgbClr val="009900"/>
        </a:buClr>
        <a:buSzPct val="100000"/>
        <a:buFont typeface="Univers for BP" panose="020B0603020202020204" pitchFamily="34" charset="0"/>
        <a:buChar char="•"/>
        <a:defRPr sz="1350">
          <a:solidFill>
            <a:schemeClr val="tx1"/>
          </a:solidFill>
          <a:latin typeface="Univers for BP Light" panose="020B0403020202020204" pitchFamily="34" charset="0"/>
          <a:ea typeface="+mn-ea"/>
          <a:cs typeface="+mn-cs"/>
        </a:defRPr>
      </a:lvl1pPr>
      <a:lvl2pPr marL="411956" indent="-204788" algn="l" rtl="0" eaLnBrk="1" fontAlgn="base" hangingPunct="1">
        <a:spcBef>
          <a:spcPct val="50000"/>
        </a:spcBef>
        <a:spcAft>
          <a:spcPct val="0"/>
        </a:spcAft>
        <a:buClr>
          <a:srgbClr val="009900"/>
        </a:buClr>
        <a:buFont typeface="Univers for BP" panose="020B0603020202020204" pitchFamily="34" charset="0"/>
        <a:buChar char="–"/>
        <a:defRPr sz="1350">
          <a:solidFill>
            <a:schemeClr val="tx1"/>
          </a:solidFill>
          <a:latin typeface="Univers for BP Light" panose="020B0403020202020204" pitchFamily="34" charset="0"/>
          <a:cs typeface="+mn-cs"/>
        </a:defRPr>
      </a:lvl2pPr>
      <a:lvl3pPr marL="606029" indent="-192881" algn="l" rtl="0" eaLnBrk="1" fontAlgn="base" hangingPunct="1">
        <a:spcBef>
          <a:spcPct val="50000"/>
        </a:spcBef>
        <a:spcAft>
          <a:spcPct val="0"/>
        </a:spcAft>
        <a:buClr>
          <a:srgbClr val="009900"/>
        </a:buClr>
        <a:buFont typeface="Univers for BP" panose="020B0603020202020204" pitchFamily="34" charset="0"/>
        <a:buChar char="–"/>
        <a:defRPr sz="1350">
          <a:solidFill>
            <a:schemeClr val="tx1"/>
          </a:solidFill>
          <a:latin typeface="Univers for BP Light" panose="020B0403020202020204" pitchFamily="34" charset="0"/>
          <a:cs typeface="+mn-cs"/>
        </a:defRPr>
      </a:lvl3pPr>
      <a:lvl4pPr marL="812006" indent="-204788" algn="l" rtl="0" eaLnBrk="1" fontAlgn="base" hangingPunct="1">
        <a:spcBef>
          <a:spcPct val="50000"/>
        </a:spcBef>
        <a:spcAft>
          <a:spcPct val="0"/>
        </a:spcAft>
        <a:buClr>
          <a:srgbClr val="009900"/>
        </a:buClr>
        <a:buFont typeface="Univers for BP" panose="020B0603020202020204" pitchFamily="34" charset="0"/>
        <a:buChar char="–"/>
        <a:defRPr sz="1350">
          <a:solidFill>
            <a:schemeClr val="tx1"/>
          </a:solidFill>
          <a:latin typeface="Univers for BP Light" panose="020B0403020202020204" pitchFamily="34" charset="0"/>
          <a:cs typeface="+mn-cs"/>
        </a:defRPr>
      </a:lvl4pPr>
      <a:lvl5pPr marL="1016794" indent="-203597" algn="l" rtl="0" eaLnBrk="1" fontAlgn="base" hangingPunct="1">
        <a:spcBef>
          <a:spcPct val="50000"/>
        </a:spcBef>
        <a:spcAft>
          <a:spcPct val="0"/>
        </a:spcAft>
        <a:buClr>
          <a:srgbClr val="009900"/>
        </a:buClr>
        <a:buFont typeface="Univers for BP" panose="020B0603020202020204" pitchFamily="34" charset="0"/>
        <a:buChar char="–"/>
        <a:defRPr sz="1350">
          <a:solidFill>
            <a:schemeClr val="tx1"/>
          </a:solidFill>
          <a:latin typeface="Univers for BP Light" panose="020B0403020202020204" pitchFamily="34" charset="0"/>
          <a:cs typeface="+mn-cs"/>
        </a:defRPr>
      </a:lvl5pPr>
      <a:lvl6pPr marL="1359694" indent="-203597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Univers 55" pitchFamily="2" charset="0"/>
        <a:buChar char="−"/>
        <a:defRPr>
          <a:solidFill>
            <a:schemeClr val="tx1"/>
          </a:solidFill>
          <a:latin typeface="+mn-lt"/>
          <a:cs typeface="+mn-cs"/>
        </a:defRPr>
      </a:lvl6pPr>
      <a:lvl7pPr marL="1702594" indent="-203597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Univers 55" pitchFamily="2" charset="0"/>
        <a:buChar char="−"/>
        <a:defRPr>
          <a:solidFill>
            <a:schemeClr val="tx1"/>
          </a:solidFill>
          <a:latin typeface="+mn-lt"/>
          <a:cs typeface="+mn-cs"/>
        </a:defRPr>
      </a:lvl7pPr>
      <a:lvl8pPr marL="2045494" indent="-203597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Univers 55" pitchFamily="2" charset="0"/>
        <a:buChar char="−"/>
        <a:defRPr>
          <a:solidFill>
            <a:schemeClr val="tx1"/>
          </a:solidFill>
          <a:latin typeface="+mn-lt"/>
          <a:cs typeface="+mn-cs"/>
        </a:defRPr>
      </a:lvl8pPr>
      <a:lvl9pPr marL="2388394" indent="-203597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Univers 55" pitchFamily="2" charset="0"/>
        <a:buChar char="−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120">
          <p15:clr>
            <a:srgbClr val="F26B43"/>
          </p15:clr>
        </p15:guide>
        <p15:guide id="3" orient="horz" pos="527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472" y="1196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472" y="1196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0" y="216043"/>
            <a:ext cx="8153400" cy="6977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50400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028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9750" y="895864"/>
            <a:ext cx="7727950" cy="3676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26397" name="Rectangle 2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320000" y="4921048"/>
            <a:ext cx="347662" cy="1643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b="1">
                <a:solidFill>
                  <a:schemeClr val="tx1"/>
                </a:solidFill>
                <a:latin typeface="Univers for BP Light" panose="020B0403020202020204" pitchFamily="34" charset="0"/>
              </a:defRPr>
            </a:lvl1pPr>
          </a:lstStyle>
          <a:p>
            <a:fld id="{9D706D9E-7124-4078-90FA-E7ABB087F280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670043" y="4785400"/>
            <a:ext cx="12346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GB" sz="750" i="1" dirty="0">
                <a:solidFill>
                  <a:srgbClr val="009900"/>
                </a:solidFill>
                <a:latin typeface="Univers for BP Light" panose="020B0403020202020204" pitchFamily="34" charset="0"/>
              </a:rPr>
              <a:t>2018</a:t>
            </a:r>
            <a:r>
              <a:rPr lang="en-GB" sz="750" i="1" baseline="0" dirty="0">
                <a:solidFill>
                  <a:srgbClr val="009900"/>
                </a:solidFill>
                <a:latin typeface="Univers for BP Light" panose="020B0403020202020204" pitchFamily="34" charset="0"/>
              </a:rPr>
              <a:t> </a:t>
            </a:r>
            <a:r>
              <a:rPr lang="en-GB" sz="750" i="1" dirty="0">
                <a:solidFill>
                  <a:srgbClr val="009900"/>
                </a:solidFill>
                <a:latin typeface="Univers for BP Light" panose="020B0403020202020204" pitchFamily="34" charset="0"/>
              </a:rPr>
              <a:t>BP Energy Outlook</a:t>
            </a:r>
          </a:p>
          <a:p>
            <a:pPr algn="r">
              <a:lnSpc>
                <a:spcPct val="120000"/>
              </a:lnSpc>
            </a:pPr>
            <a:r>
              <a:rPr lang="en-GB" sz="750" dirty="0">
                <a:solidFill>
                  <a:schemeClr val="tx1"/>
                </a:solidFill>
                <a:latin typeface="Univers for BP Light" panose="020B0403020202020204" pitchFamily="34" charset="0"/>
              </a:rPr>
              <a:t>© BP </a:t>
            </a:r>
            <a:r>
              <a:rPr lang="en-GB" sz="750" dirty="0" err="1">
                <a:solidFill>
                  <a:schemeClr val="tx1"/>
                </a:solidFill>
                <a:latin typeface="Univers for BP Light" panose="020B0403020202020204" pitchFamily="34" charset="0"/>
              </a:rPr>
              <a:t>p.l.c</a:t>
            </a:r>
            <a:r>
              <a:rPr lang="en-GB" sz="750" dirty="0">
                <a:solidFill>
                  <a:schemeClr val="tx1"/>
                </a:solidFill>
                <a:latin typeface="Univers for BP Light" panose="020B0403020202020204" pitchFamily="34" charset="0"/>
              </a:rPr>
              <a:t>. 2018</a:t>
            </a:r>
          </a:p>
        </p:txBody>
      </p:sp>
      <p:pic>
        <p:nvPicPr>
          <p:cNvPr id="8" name="Picture 4">
            <a:extLst>
              <a:ext uri="{FF2B5EF4-FFF2-40B4-BE49-F238E27FC236}">
                <a16:creationId xmlns:a16="http://schemas.microsoft.com/office/drawing/2014/main" id="{398E9027-648A-4B3D-BEB2-2C149F6A40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3424" y="5479"/>
            <a:ext cx="635779" cy="79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789674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99" r:id="rId1"/>
    <p:sldLayoutId id="2147485300" r:id="rId2"/>
    <p:sldLayoutId id="2147485301" r:id="rId3"/>
    <p:sldLayoutId id="2147485302" r:id="rId4"/>
  </p:sldLayoutIdLst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50">
          <a:solidFill>
            <a:srgbClr val="009900"/>
          </a:solidFill>
          <a:latin typeface="Univers for BP" panose="020B060302020202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9900"/>
          </a:solidFill>
          <a:latin typeface="Univers 55" pitchFamily="2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9900"/>
          </a:solidFill>
          <a:latin typeface="Univers 55" pitchFamily="2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9900"/>
          </a:solidFill>
          <a:latin typeface="Univers 55" pitchFamily="2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9900"/>
          </a:solidFill>
          <a:latin typeface="Univers 55" pitchFamily="2" charset="0"/>
          <a:cs typeface="Arial" charset="0"/>
        </a:defRPr>
      </a:lvl5pPr>
      <a:lvl6pPr marL="342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9900"/>
          </a:solidFill>
          <a:latin typeface="Univers 55" pitchFamily="2" charset="0"/>
          <a:cs typeface="Arial" charset="0"/>
        </a:defRPr>
      </a:lvl6pPr>
      <a:lvl7pPr marL="685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9900"/>
          </a:solidFill>
          <a:latin typeface="Univers 55" pitchFamily="2" charset="0"/>
          <a:cs typeface="Arial" charset="0"/>
        </a:defRPr>
      </a:lvl7pPr>
      <a:lvl8pPr marL="102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9900"/>
          </a:solidFill>
          <a:latin typeface="Univers 55" pitchFamily="2" charset="0"/>
          <a:cs typeface="Arial" charset="0"/>
        </a:defRPr>
      </a:lvl8pPr>
      <a:lvl9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9900"/>
          </a:solidFill>
          <a:latin typeface="Univers 55" pitchFamily="2" charset="0"/>
          <a:cs typeface="Arial" charset="0"/>
        </a:defRPr>
      </a:lvl9pPr>
    </p:titleStyle>
    <p:bodyStyle>
      <a:lvl1pPr marL="205979" indent="-205979" algn="l" rtl="0" eaLnBrk="1" fontAlgn="base" hangingPunct="1">
        <a:spcBef>
          <a:spcPct val="50000"/>
        </a:spcBef>
        <a:spcAft>
          <a:spcPct val="0"/>
        </a:spcAft>
        <a:buClr>
          <a:srgbClr val="009900"/>
        </a:buClr>
        <a:buSzPct val="100000"/>
        <a:buFont typeface="Univers for BP" panose="020B0603020202020204" pitchFamily="34" charset="0"/>
        <a:buChar char="•"/>
        <a:defRPr sz="1350">
          <a:solidFill>
            <a:schemeClr val="tx1"/>
          </a:solidFill>
          <a:latin typeface="Univers for BP Light" panose="020B0403020202020204" pitchFamily="34" charset="0"/>
          <a:ea typeface="+mn-ea"/>
          <a:cs typeface="+mn-cs"/>
        </a:defRPr>
      </a:lvl1pPr>
      <a:lvl2pPr marL="411956" indent="-204788" algn="l" rtl="0" eaLnBrk="1" fontAlgn="base" hangingPunct="1">
        <a:spcBef>
          <a:spcPct val="50000"/>
        </a:spcBef>
        <a:spcAft>
          <a:spcPct val="0"/>
        </a:spcAft>
        <a:buClr>
          <a:srgbClr val="009900"/>
        </a:buClr>
        <a:buFont typeface="Univers for BP" panose="020B0603020202020204" pitchFamily="34" charset="0"/>
        <a:buChar char="–"/>
        <a:defRPr sz="1350">
          <a:solidFill>
            <a:schemeClr val="tx1"/>
          </a:solidFill>
          <a:latin typeface="Univers for BP Light" panose="020B0403020202020204" pitchFamily="34" charset="0"/>
          <a:cs typeface="+mn-cs"/>
        </a:defRPr>
      </a:lvl2pPr>
      <a:lvl3pPr marL="606029" indent="-192881" algn="l" rtl="0" eaLnBrk="1" fontAlgn="base" hangingPunct="1">
        <a:spcBef>
          <a:spcPct val="50000"/>
        </a:spcBef>
        <a:spcAft>
          <a:spcPct val="0"/>
        </a:spcAft>
        <a:buClr>
          <a:srgbClr val="009900"/>
        </a:buClr>
        <a:buFont typeface="Univers for BP" panose="020B0603020202020204" pitchFamily="34" charset="0"/>
        <a:buChar char="–"/>
        <a:defRPr sz="1350">
          <a:solidFill>
            <a:schemeClr val="tx1"/>
          </a:solidFill>
          <a:latin typeface="Univers for BP Light" panose="020B0403020202020204" pitchFamily="34" charset="0"/>
          <a:cs typeface="+mn-cs"/>
        </a:defRPr>
      </a:lvl3pPr>
      <a:lvl4pPr marL="812006" indent="-204788" algn="l" rtl="0" eaLnBrk="1" fontAlgn="base" hangingPunct="1">
        <a:spcBef>
          <a:spcPct val="50000"/>
        </a:spcBef>
        <a:spcAft>
          <a:spcPct val="0"/>
        </a:spcAft>
        <a:buClr>
          <a:srgbClr val="009900"/>
        </a:buClr>
        <a:buFont typeface="Univers for BP" panose="020B0603020202020204" pitchFamily="34" charset="0"/>
        <a:buChar char="–"/>
        <a:defRPr sz="1350">
          <a:solidFill>
            <a:schemeClr val="tx1"/>
          </a:solidFill>
          <a:latin typeface="Univers for BP Light" panose="020B0403020202020204" pitchFamily="34" charset="0"/>
          <a:cs typeface="+mn-cs"/>
        </a:defRPr>
      </a:lvl4pPr>
      <a:lvl5pPr marL="1016794" indent="-203597" algn="l" rtl="0" eaLnBrk="1" fontAlgn="base" hangingPunct="1">
        <a:spcBef>
          <a:spcPct val="50000"/>
        </a:spcBef>
        <a:spcAft>
          <a:spcPct val="0"/>
        </a:spcAft>
        <a:buClr>
          <a:srgbClr val="009900"/>
        </a:buClr>
        <a:buFont typeface="Univers for BP" panose="020B0603020202020204" pitchFamily="34" charset="0"/>
        <a:buChar char="–"/>
        <a:defRPr sz="1350">
          <a:solidFill>
            <a:schemeClr val="tx1"/>
          </a:solidFill>
          <a:latin typeface="Univers for BP Light" panose="020B0403020202020204" pitchFamily="34" charset="0"/>
          <a:cs typeface="+mn-cs"/>
        </a:defRPr>
      </a:lvl5pPr>
      <a:lvl6pPr marL="1359694" indent="-203597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Univers 55" pitchFamily="2" charset="0"/>
        <a:buChar char="−"/>
        <a:defRPr>
          <a:solidFill>
            <a:schemeClr val="tx1"/>
          </a:solidFill>
          <a:latin typeface="+mn-lt"/>
          <a:cs typeface="+mn-cs"/>
        </a:defRPr>
      </a:lvl6pPr>
      <a:lvl7pPr marL="1702594" indent="-203597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Univers 55" pitchFamily="2" charset="0"/>
        <a:buChar char="−"/>
        <a:defRPr>
          <a:solidFill>
            <a:schemeClr val="tx1"/>
          </a:solidFill>
          <a:latin typeface="+mn-lt"/>
          <a:cs typeface="+mn-cs"/>
        </a:defRPr>
      </a:lvl7pPr>
      <a:lvl8pPr marL="2045494" indent="-203597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Univers 55" pitchFamily="2" charset="0"/>
        <a:buChar char="−"/>
        <a:defRPr>
          <a:solidFill>
            <a:schemeClr val="tx1"/>
          </a:solidFill>
          <a:latin typeface="+mn-lt"/>
          <a:cs typeface="+mn-cs"/>
        </a:defRPr>
      </a:lvl8pPr>
      <a:lvl9pPr marL="2388394" indent="-203597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Univers 55" pitchFamily="2" charset="0"/>
        <a:buChar char="−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120">
          <p15:clr>
            <a:srgbClr val="F26B43"/>
          </p15:clr>
        </p15:guide>
        <p15:guide id="3" orient="horz" pos="527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472" y="1196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472" y="1196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0" y="216043"/>
            <a:ext cx="8153400" cy="6977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50400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028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9750" y="895864"/>
            <a:ext cx="7727950" cy="3676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26397" name="Rectangle 2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320000" y="4921048"/>
            <a:ext cx="347662" cy="1643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b="1">
                <a:solidFill>
                  <a:schemeClr val="tx1"/>
                </a:solidFill>
                <a:latin typeface="Univers for BP Light" panose="020B0403020202020204" pitchFamily="34" charset="0"/>
              </a:defRPr>
            </a:lvl1pPr>
          </a:lstStyle>
          <a:p>
            <a:fld id="{9D706D9E-7124-4078-90FA-E7ABB087F280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670043" y="4785400"/>
            <a:ext cx="12346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en-GB" sz="750" i="1" dirty="0">
                <a:solidFill>
                  <a:srgbClr val="009900"/>
                </a:solidFill>
                <a:latin typeface="Univers for BP Light" panose="020B0403020202020204" pitchFamily="34" charset="0"/>
              </a:rPr>
              <a:t>2018</a:t>
            </a:r>
            <a:r>
              <a:rPr lang="en-GB" sz="750" i="1" baseline="0" dirty="0">
                <a:solidFill>
                  <a:srgbClr val="009900"/>
                </a:solidFill>
                <a:latin typeface="Univers for BP Light" panose="020B0403020202020204" pitchFamily="34" charset="0"/>
              </a:rPr>
              <a:t> </a:t>
            </a:r>
            <a:r>
              <a:rPr lang="en-GB" sz="750" i="1" dirty="0">
                <a:solidFill>
                  <a:srgbClr val="009900"/>
                </a:solidFill>
                <a:latin typeface="Univers for BP Light" panose="020B0403020202020204" pitchFamily="34" charset="0"/>
              </a:rPr>
              <a:t>BP Energy Outlook</a:t>
            </a:r>
          </a:p>
          <a:p>
            <a:pPr algn="r">
              <a:lnSpc>
                <a:spcPct val="120000"/>
              </a:lnSpc>
            </a:pPr>
            <a:r>
              <a:rPr lang="en-GB" sz="750" dirty="0">
                <a:solidFill>
                  <a:schemeClr val="tx1"/>
                </a:solidFill>
                <a:latin typeface="Univers for BP Light" panose="020B0403020202020204" pitchFamily="34" charset="0"/>
              </a:rPr>
              <a:t>© BP </a:t>
            </a:r>
            <a:r>
              <a:rPr lang="en-GB" sz="750" dirty="0" err="1">
                <a:solidFill>
                  <a:schemeClr val="tx1"/>
                </a:solidFill>
                <a:latin typeface="Univers for BP Light" panose="020B0403020202020204" pitchFamily="34" charset="0"/>
              </a:rPr>
              <a:t>p.l.c</a:t>
            </a:r>
            <a:r>
              <a:rPr lang="en-GB" sz="750" dirty="0">
                <a:solidFill>
                  <a:schemeClr val="tx1"/>
                </a:solidFill>
                <a:latin typeface="Univers for BP Light" panose="020B0403020202020204" pitchFamily="34" charset="0"/>
              </a:rPr>
              <a:t>. 2018</a:t>
            </a:r>
          </a:p>
        </p:txBody>
      </p:sp>
      <p:pic>
        <p:nvPicPr>
          <p:cNvPr id="8" name="Picture 4">
            <a:extLst>
              <a:ext uri="{FF2B5EF4-FFF2-40B4-BE49-F238E27FC236}">
                <a16:creationId xmlns:a16="http://schemas.microsoft.com/office/drawing/2014/main" id="{4A1291CF-BFE6-4195-9F45-A169719AD4D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3424" y="5479"/>
            <a:ext cx="635779" cy="79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87600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04" r:id="rId1"/>
    <p:sldLayoutId id="2147485305" r:id="rId2"/>
    <p:sldLayoutId id="2147485306" r:id="rId3"/>
    <p:sldLayoutId id="2147485307" r:id="rId4"/>
  </p:sldLayoutIdLst>
  <p:hf sldNum="0"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1650">
          <a:solidFill>
            <a:srgbClr val="009900"/>
          </a:solidFill>
          <a:latin typeface="Univers for BP" panose="020B060302020202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9900"/>
          </a:solidFill>
          <a:latin typeface="Univers 55" pitchFamily="2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9900"/>
          </a:solidFill>
          <a:latin typeface="Univers 55" pitchFamily="2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9900"/>
          </a:solidFill>
          <a:latin typeface="Univers 55" pitchFamily="2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9900"/>
          </a:solidFill>
          <a:latin typeface="Univers 55" pitchFamily="2" charset="0"/>
          <a:cs typeface="Arial" charset="0"/>
        </a:defRPr>
      </a:lvl5pPr>
      <a:lvl6pPr marL="342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9900"/>
          </a:solidFill>
          <a:latin typeface="Univers 55" pitchFamily="2" charset="0"/>
          <a:cs typeface="Arial" charset="0"/>
        </a:defRPr>
      </a:lvl6pPr>
      <a:lvl7pPr marL="685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9900"/>
          </a:solidFill>
          <a:latin typeface="Univers 55" pitchFamily="2" charset="0"/>
          <a:cs typeface="Arial" charset="0"/>
        </a:defRPr>
      </a:lvl7pPr>
      <a:lvl8pPr marL="10287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9900"/>
          </a:solidFill>
          <a:latin typeface="Univers 55" pitchFamily="2" charset="0"/>
          <a:cs typeface="Arial" charset="0"/>
        </a:defRPr>
      </a:lvl8pPr>
      <a:lvl9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>
          <a:solidFill>
            <a:srgbClr val="009900"/>
          </a:solidFill>
          <a:latin typeface="Univers 55" pitchFamily="2" charset="0"/>
          <a:cs typeface="Arial" charset="0"/>
        </a:defRPr>
      </a:lvl9pPr>
    </p:titleStyle>
    <p:bodyStyle>
      <a:lvl1pPr marL="205979" indent="-205979" algn="l" rtl="0" eaLnBrk="1" fontAlgn="base" hangingPunct="1">
        <a:spcBef>
          <a:spcPct val="50000"/>
        </a:spcBef>
        <a:spcAft>
          <a:spcPct val="0"/>
        </a:spcAft>
        <a:buClr>
          <a:srgbClr val="009900"/>
        </a:buClr>
        <a:buSzPct val="100000"/>
        <a:buFont typeface="Univers for BP" panose="020B0603020202020204" pitchFamily="34" charset="0"/>
        <a:buChar char="•"/>
        <a:defRPr sz="1350">
          <a:solidFill>
            <a:schemeClr val="tx1"/>
          </a:solidFill>
          <a:latin typeface="Univers for BP Light" panose="020B0403020202020204" pitchFamily="34" charset="0"/>
          <a:ea typeface="+mn-ea"/>
          <a:cs typeface="+mn-cs"/>
        </a:defRPr>
      </a:lvl1pPr>
      <a:lvl2pPr marL="411956" indent="-204788" algn="l" rtl="0" eaLnBrk="1" fontAlgn="base" hangingPunct="1">
        <a:spcBef>
          <a:spcPct val="50000"/>
        </a:spcBef>
        <a:spcAft>
          <a:spcPct val="0"/>
        </a:spcAft>
        <a:buClr>
          <a:srgbClr val="009900"/>
        </a:buClr>
        <a:buFont typeface="Univers for BP" panose="020B0603020202020204" pitchFamily="34" charset="0"/>
        <a:buChar char="–"/>
        <a:defRPr sz="1350">
          <a:solidFill>
            <a:schemeClr val="tx1"/>
          </a:solidFill>
          <a:latin typeface="Univers for BP Light" panose="020B0403020202020204" pitchFamily="34" charset="0"/>
          <a:cs typeface="+mn-cs"/>
        </a:defRPr>
      </a:lvl2pPr>
      <a:lvl3pPr marL="606029" indent="-192881" algn="l" rtl="0" eaLnBrk="1" fontAlgn="base" hangingPunct="1">
        <a:spcBef>
          <a:spcPct val="50000"/>
        </a:spcBef>
        <a:spcAft>
          <a:spcPct val="0"/>
        </a:spcAft>
        <a:buClr>
          <a:srgbClr val="009900"/>
        </a:buClr>
        <a:buFont typeface="Univers for BP" panose="020B0603020202020204" pitchFamily="34" charset="0"/>
        <a:buChar char="–"/>
        <a:defRPr sz="1350">
          <a:solidFill>
            <a:schemeClr val="tx1"/>
          </a:solidFill>
          <a:latin typeface="Univers for BP Light" panose="020B0403020202020204" pitchFamily="34" charset="0"/>
          <a:cs typeface="+mn-cs"/>
        </a:defRPr>
      </a:lvl3pPr>
      <a:lvl4pPr marL="812006" indent="-204788" algn="l" rtl="0" eaLnBrk="1" fontAlgn="base" hangingPunct="1">
        <a:spcBef>
          <a:spcPct val="50000"/>
        </a:spcBef>
        <a:spcAft>
          <a:spcPct val="0"/>
        </a:spcAft>
        <a:buClr>
          <a:srgbClr val="009900"/>
        </a:buClr>
        <a:buFont typeface="Univers for BP" panose="020B0603020202020204" pitchFamily="34" charset="0"/>
        <a:buChar char="–"/>
        <a:defRPr sz="1350">
          <a:solidFill>
            <a:schemeClr val="tx1"/>
          </a:solidFill>
          <a:latin typeface="Univers for BP Light" panose="020B0403020202020204" pitchFamily="34" charset="0"/>
          <a:cs typeface="+mn-cs"/>
        </a:defRPr>
      </a:lvl4pPr>
      <a:lvl5pPr marL="1016794" indent="-203597" algn="l" rtl="0" eaLnBrk="1" fontAlgn="base" hangingPunct="1">
        <a:spcBef>
          <a:spcPct val="50000"/>
        </a:spcBef>
        <a:spcAft>
          <a:spcPct val="0"/>
        </a:spcAft>
        <a:buClr>
          <a:srgbClr val="009900"/>
        </a:buClr>
        <a:buFont typeface="Univers for BP" panose="020B0603020202020204" pitchFamily="34" charset="0"/>
        <a:buChar char="–"/>
        <a:defRPr sz="1350">
          <a:solidFill>
            <a:schemeClr val="tx1"/>
          </a:solidFill>
          <a:latin typeface="Univers for BP Light" panose="020B0403020202020204" pitchFamily="34" charset="0"/>
          <a:cs typeface="+mn-cs"/>
        </a:defRPr>
      </a:lvl5pPr>
      <a:lvl6pPr marL="1359694" indent="-203597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Univers 55" pitchFamily="2" charset="0"/>
        <a:buChar char="−"/>
        <a:defRPr>
          <a:solidFill>
            <a:schemeClr val="tx1"/>
          </a:solidFill>
          <a:latin typeface="+mn-lt"/>
          <a:cs typeface="+mn-cs"/>
        </a:defRPr>
      </a:lvl6pPr>
      <a:lvl7pPr marL="1702594" indent="-203597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Univers 55" pitchFamily="2" charset="0"/>
        <a:buChar char="−"/>
        <a:defRPr>
          <a:solidFill>
            <a:schemeClr val="tx1"/>
          </a:solidFill>
          <a:latin typeface="+mn-lt"/>
          <a:cs typeface="+mn-cs"/>
        </a:defRPr>
      </a:lvl7pPr>
      <a:lvl8pPr marL="2045494" indent="-203597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Univers 55" pitchFamily="2" charset="0"/>
        <a:buChar char="−"/>
        <a:defRPr>
          <a:solidFill>
            <a:schemeClr val="tx1"/>
          </a:solidFill>
          <a:latin typeface="+mn-lt"/>
          <a:cs typeface="+mn-cs"/>
        </a:defRPr>
      </a:lvl8pPr>
      <a:lvl9pPr marL="2388394" indent="-203597" algn="l" rtl="0" eaLnBrk="1" fontAlgn="base" hangingPunct="1">
        <a:spcBef>
          <a:spcPct val="50000"/>
        </a:spcBef>
        <a:spcAft>
          <a:spcPct val="0"/>
        </a:spcAft>
        <a:buClr>
          <a:srgbClr val="99CC00"/>
        </a:buClr>
        <a:buFont typeface="Univers 55" pitchFamily="2" charset="0"/>
        <a:buChar char="−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120">
          <p15:clr>
            <a:srgbClr val="F26B43"/>
          </p15:clr>
        </p15:guide>
        <p15:guide id="3" orient="horz" pos="52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943AED-DA33-4EF1-BFF9-D543787144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1000" y="953675"/>
            <a:ext cx="6858000" cy="1022389"/>
          </a:xfrm>
        </p:spPr>
        <p:txBody>
          <a:bodyPr>
            <a:normAutofit/>
          </a:bodyPr>
          <a:lstStyle/>
          <a:p>
            <a:r>
              <a:rPr lang="en-GB" sz="3400" dirty="0">
                <a:solidFill>
                  <a:srgbClr val="00B050"/>
                </a:solidFill>
                <a:latin typeface="Univers for BP" panose="020B0603020202020204" pitchFamily="34" charset="0"/>
              </a:rPr>
              <a:t>Bryan Lovell Meeting 2019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779616C-4EC5-4625-B503-7F48436D027E}"/>
              </a:ext>
            </a:extLst>
          </p:cNvPr>
          <p:cNvSpPr txBox="1"/>
          <p:nvPr/>
        </p:nvSpPr>
        <p:spPr>
          <a:xfrm>
            <a:off x="672216" y="2105253"/>
            <a:ext cx="77995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dirty="0">
                <a:latin typeface="Univers for BP" panose="020B0603020202020204" pitchFamily="34" charset="0"/>
              </a:rPr>
              <a:t>Trends in world energy and decarbonisa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7FC4822-3C99-403B-A9D3-35A0A8D5F9D3}"/>
              </a:ext>
            </a:extLst>
          </p:cNvPr>
          <p:cNvSpPr txBox="1"/>
          <p:nvPr/>
        </p:nvSpPr>
        <p:spPr>
          <a:xfrm>
            <a:off x="1838420" y="3123028"/>
            <a:ext cx="5407200" cy="1788545"/>
          </a:xfrm>
          <a:prstGeom prst="rect">
            <a:avLst/>
          </a:prstGeom>
        </p:spPr>
        <p:txBody>
          <a:bodyPr vert="horz" lIns="576000" tIns="38963" rIns="36000" bIns="360000" rtlCol="0" anchor="ctr">
            <a:normAutofit fontScale="97500"/>
          </a:bodyPr>
          <a:lstStyle>
            <a:lvl1pPr algn="ctr">
              <a:spcBef>
                <a:spcPct val="0"/>
              </a:spcBef>
              <a:buNone/>
              <a:defRPr sz="3400">
                <a:solidFill>
                  <a:srgbClr val="00B050"/>
                </a:solidFill>
                <a:latin typeface="Univers for BP" panose="020B0603020202020204" pitchFamily="34" charset="0"/>
                <a:ea typeface="+mj-ea"/>
                <a:cs typeface="+mj-cs"/>
              </a:defRPr>
            </a:lvl1pPr>
          </a:lstStyle>
          <a:p>
            <a:r>
              <a:rPr lang="en-GB" sz="2000" dirty="0"/>
              <a:t>Spencer Dale</a:t>
            </a:r>
          </a:p>
          <a:p>
            <a:r>
              <a:rPr lang="en-GB" sz="2000" dirty="0"/>
              <a:t>Group Chief Economist, BP</a:t>
            </a:r>
          </a:p>
        </p:txBody>
      </p:sp>
    </p:spTree>
    <p:extLst>
      <p:ext uri="{BB962C8B-B14F-4D97-AF65-F5344CB8AC3E}">
        <p14:creationId xmlns:p14="http://schemas.microsoft.com/office/powerpoint/2010/main" val="704836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14">
            <a:extLst>
              <a:ext uri="{FF2B5EF4-FFF2-40B4-BE49-F238E27FC236}">
                <a16:creationId xmlns:a16="http://schemas.microsoft.com/office/drawing/2014/main" id="{4A073B72-A10D-4098-8F2D-B2AA5341D817}"/>
              </a:ext>
            </a:extLst>
          </p:cNvPr>
          <p:cNvSpPr txBox="1">
            <a:spLocks/>
          </p:cNvSpPr>
          <p:nvPr/>
        </p:nvSpPr>
        <p:spPr bwMode="auto">
          <a:xfrm>
            <a:off x="4339560" y="4918993"/>
            <a:ext cx="347662" cy="1643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77919" tIns="38960" rIns="77919" bIns="38960" numCol="1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Univers 45 Light" pitchFamily="2" charset="0"/>
                <a:ea typeface="+mn-ea"/>
                <a:cs typeface="Arial" charset="0"/>
              </a:defRPr>
            </a:lvl1pPr>
            <a:lvl2pPr marL="453917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2pPr>
            <a:lvl3pPr marL="907826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3pPr>
            <a:lvl4pPr marL="1361747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4pPr>
            <a:lvl5pPr marL="1815657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5pPr>
            <a:lvl6pPr marL="2269568" algn="l" defTabSz="907826" rtl="0" eaLnBrk="1" latinLnBrk="0" hangingPunct="1"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6pPr>
            <a:lvl7pPr marL="2723488" algn="l" defTabSz="907826" rtl="0" eaLnBrk="1" latinLnBrk="0" hangingPunct="1"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7pPr>
            <a:lvl8pPr marL="3177405" algn="l" defTabSz="907826" rtl="0" eaLnBrk="1" latinLnBrk="0" hangingPunct="1"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8pPr>
            <a:lvl9pPr marL="3631310" algn="l" defTabSz="907826" rtl="0" eaLnBrk="1" latinLnBrk="0" hangingPunct="1"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9pPr>
          </a:lstStyle>
          <a:p>
            <a:pPr marL="0" marR="0" lvl="0" indent="0" algn="r" defTabSz="7791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3425253-3FD2-44F6-BCAE-8C231F101B91}" type="slidenum"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vers for BP Light" panose="020B0403020202020204" pitchFamily="34" charset="0"/>
                <a:ea typeface="+mn-ea"/>
                <a:cs typeface="Arial" charset="0"/>
              </a:rPr>
              <a:pPr marL="0" marR="0" lvl="0" indent="0" algn="r" defTabSz="77919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vers for BP Light" panose="020B0403020202020204" pitchFamily="34" charset="0"/>
              <a:ea typeface="+mn-ea"/>
              <a:cs typeface="Arial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0D54BFE-6CE4-4B28-A496-CEA12A3A5FB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1828" y="314728"/>
            <a:ext cx="8153400" cy="697706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29477" tIns="0" rIns="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sz="2200" dirty="0"/>
              <a:t>Reducing carbon emissions beyond 2040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36B6D4E-88EF-4E60-B98B-5FA0058FDC9D}"/>
              </a:ext>
            </a:extLst>
          </p:cNvPr>
          <p:cNvSpPr txBox="1"/>
          <p:nvPr/>
        </p:nvSpPr>
        <p:spPr>
          <a:xfrm>
            <a:off x="360000" y="1209866"/>
            <a:ext cx="8380799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rgbClr val="0099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600" b="1" dirty="0">
                <a:solidFill>
                  <a:srgbClr val="000000"/>
                </a:solidFill>
                <a:latin typeface="Univers for BP Light" panose="020B0403020202020204" pitchFamily="34" charset="0"/>
              </a:rPr>
              <a:t>Efficiency, efficiency, efficiency </a:t>
            </a:r>
          </a:p>
          <a:p>
            <a:pPr lvl="1">
              <a:buClr>
                <a:srgbClr val="009900"/>
              </a:buClr>
              <a:defRPr/>
            </a:pPr>
            <a:r>
              <a:rPr lang="en-GB" sz="1600" b="1" dirty="0">
                <a:solidFill>
                  <a:srgbClr val="000000"/>
                </a:solidFill>
                <a:latin typeface="Univers for BP Light" panose="020B0403020202020204" pitchFamily="34" charset="0"/>
              </a:rPr>
              <a:t>- </a:t>
            </a:r>
            <a:r>
              <a:rPr lang="en-GB" sz="1400" dirty="0">
                <a:solidFill>
                  <a:srgbClr val="000000"/>
                </a:solidFill>
                <a:latin typeface="Univers for BP Light" panose="020B0403020202020204" pitchFamily="34" charset="0"/>
              </a:rPr>
              <a:t>circular economy/reuse/recycle: reducing demand for new materials and products:</a:t>
            </a:r>
          </a:p>
          <a:p>
            <a:pPr lvl="1">
              <a:buClr>
                <a:srgbClr val="009900"/>
              </a:buClr>
              <a:defRPr/>
            </a:pPr>
            <a:r>
              <a:rPr lang="en-GB" sz="1400" dirty="0">
                <a:solidFill>
                  <a:srgbClr val="000000"/>
                </a:solidFill>
                <a:latin typeface="Univers for BP Light" panose="020B0403020202020204" pitchFamily="34" charset="0"/>
              </a:rPr>
              <a:t>- energy efficiency</a:t>
            </a:r>
          </a:p>
          <a:p>
            <a:pPr marL="285750" marR="0" lvl="0" indent="-28575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rgbClr val="0099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1800" dirty="0">
              <a:solidFill>
                <a:srgbClr val="000000"/>
              </a:solidFill>
              <a:latin typeface="Univers for BP Light" panose="020B0403020202020204" pitchFamily="34" charset="0"/>
            </a:endParaRPr>
          </a:p>
          <a:p>
            <a:pPr marL="285750" marR="0" lvl="0" indent="-28575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rgbClr val="0099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600" b="1" dirty="0">
                <a:solidFill>
                  <a:schemeClr val="tx1"/>
                </a:solidFill>
                <a:latin typeface="Univers for BP Light" panose="020B0403020202020204" pitchFamily="34" charset="0"/>
              </a:rPr>
              <a:t>Decarbonise power sector</a:t>
            </a:r>
          </a:p>
          <a:p>
            <a:pPr lvl="1">
              <a:buClr>
                <a:srgbClr val="009900"/>
              </a:buClr>
              <a:defRPr/>
            </a:pPr>
            <a:r>
              <a:rPr lang="en-GB" sz="1400" dirty="0">
                <a:solidFill>
                  <a:srgbClr val="000000"/>
                </a:solidFill>
                <a:latin typeface="Univers for BP Light" panose="020B0403020202020204" pitchFamily="34" charset="0"/>
              </a:rPr>
              <a:t>– renewables (supported by energy storage, DSR, grid interconnection)</a:t>
            </a:r>
          </a:p>
          <a:p>
            <a:pPr lvl="1">
              <a:buClr>
                <a:srgbClr val="009900"/>
              </a:buClr>
              <a:defRPr/>
            </a:pPr>
            <a:r>
              <a:rPr lang="en-GB" sz="1400" dirty="0">
                <a:solidFill>
                  <a:srgbClr val="000000"/>
                </a:solidFill>
                <a:latin typeface="Univers for BP Light" panose="020B0403020202020204" pitchFamily="34" charset="0"/>
              </a:rPr>
              <a:t>– Gas (and coal) with CCUS</a:t>
            </a:r>
          </a:p>
          <a:p>
            <a:pPr lvl="0">
              <a:buClr>
                <a:srgbClr val="009900"/>
              </a:buClr>
              <a:defRPr/>
            </a:pPr>
            <a:endParaRPr lang="en-GB" sz="1800" b="1" noProof="0" dirty="0">
              <a:solidFill>
                <a:schemeClr val="tx1"/>
              </a:solidFill>
              <a:latin typeface="Univers for BP Light" panose="020B0403020202020204" pitchFamily="34" charset="0"/>
            </a:endParaRPr>
          </a:p>
          <a:p>
            <a:pPr marL="285750" marR="0" lvl="0" indent="-28575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rgbClr val="0099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nivers for BP Light" panose="020B0403020202020204" pitchFamily="34" charset="0"/>
                <a:ea typeface="+mn-ea"/>
                <a:cs typeface="Arial" charset="0"/>
              </a:rPr>
              <a:t>Hydrogen: p</a:t>
            </a:r>
            <a:r>
              <a:rPr kumimoji="0" lang="en-GB" sz="16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Univers for BP Light" panose="020B0403020202020204" pitchFamily="34" charset="0"/>
                <a:ea typeface="+mn-ea"/>
                <a:cs typeface="Arial" charset="0"/>
              </a:rPr>
              <a:t>otential role for both green and blue hydrogen</a:t>
            </a:r>
          </a:p>
          <a:p>
            <a:pPr marL="342900" marR="0" lvl="0" indent="-3429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rgbClr val="0099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vers for BP Light" panose="020B0403020202020204" pitchFamily="34" charset="0"/>
              <a:ea typeface="+mn-ea"/>
              <a:cs typeface="Arial" charset="0"/>
            </a:endParaRPr>
          </a:p>
          <a:p>
            <a:pPr marL="285750" marR="0" lvl="0" indent="-28575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rgbClr val="0099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vers for BP Light" panose="020B0403020202020204" pitchFamily="34" charset="0"/>
                <a:ea typeface="+mn-ea"/>
                <a:cs typeface="Arial" charset="0"/>
              </a:rPr>
              <a:t>Bioenergy</a:t>
            </a:r>
            <a:r>
              <a:rPr lang="en-GB" sz="1600" b="1" noProof="0" dirty="0">
                <a:solidFill>
                  <a:srgbClr val="000000"/>
                </a:solidFill>
                <a:latin typeface="Univers for BP Light" panose="020B0403020202020204" pitchFamily="34" charset="0"/>
              </a:rPr>
              <a:t>: </a:t>
            </a:r>
            <a:r>
              <a:rPr kumimoji="0" lang="en-GB" sz="16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vers for BP Light" panose="020B0403020202020204" pitchFamily="34" charset="0"/>
                <a:ea typeface="+mn-ea"/>
                <a:cs typeface="Arial" charset="0"/>
              </a:rPr>
              <a:t>including liquid biofuels</a:t>
            </a:r>
          </a:p>
          <a:p>
            <a:pPr marL="342900" marR="0" lvl="0" indent="-3429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rgbClr val="0099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1800" b="1" dirty="0">
              <a:solidFill>
                <a:srgbClr val="000000"/>
              </a:solidFill>
              <a:latin typeface="Univers for BP Light" panose="020B0403020202020204" pitchFamily="34" charset="0"/>
            </a:endParaRPr>
          </a:p>
          <a:p>
            <a:pPr marL="285750" marR="0" lvl="0" indent="-28575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rgbClr val="0099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vers for BP Light" panose="020B0403020202020204" pitchFamily="34" charset="0"/>
                <a:ea typeface="+mn-ea"/>
                <a:cs typeface="Arial" charset="0"/>
              </a:rPr>
              <a:t>Carbon </a:t>
            </a:r>
            <a:r>
              <a:rPr kumimoji="0" lang="en-GB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vers for BP Light" panose="020B0403020202020204" pitchFamily="34" charset="0"/>
                <a:ea typeface="+mn-ea"/>
                <a:cs typeface="Arial" charset="0"/>
              </a:rPr>
              <a:t>storage and removal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vers for BP Light" panose="020B0403020202020204" pitchFamily="34" charset="0"/>
              <a:ea typeface="+mn-ea"/>
              <a:cs typeface="Arial" charset="0"/>
            </a:endParaRPr>
          </a:p>
          <a:p>
            <a:pPr lvl="1">
              <a:buClr>
                <a:srgbClr val="009900"/>
              </a:buClr>
              <a:defRPr/>
            </a:pPr>
            <a:r>
              <a:rPr lang="en-GB" sz="1600" dirty="0">
                <a:solidFill>
                  <a:srgbClr val="000000"/>
                </a:solidFill>
                <a:latin typeface="Univers for BP Light" panose="020B0403020202020204" pitchFamily="34" charset="0"/>
              </a:rPr>
              <a:t>– </a:t>
            </a:r>
            <a:r>
              <a:rPr lang="en-GB" sz="1400" dirty="0">
                <a:solidFill>
                  <a:srgbClr val="000000"/>
                </a:solidFill>
                <a:latin typeface="Univers for BP Light" panose="020B0403020202020204" pitchFamily="34" charset="0"/>
              </a:rPr>
              <a:t>CCUS: industry and power</a:t>
            </a:r>
          </a:p>
          <a:p>
            <a:pPr lvl="1">
              <a:buClr>
                <a:srgbClr val="009900"/>
              </a:buClr>
              <a:defRPr/>
            </a:pPr>
            <a:r>
              <a:rPr lang="en-GB" sz="1400" dirty="0">
                <a:solidFill>
                  <a:srgbClr val="000000"/>
                </a:solidFill>
                <a:latin typeface="Univers for BP Light" panose="020B0403020202020204" pitchFamily="34" charset="0"/>
              </a:rPr>
              <a:t>– Negative emission technologies (</a:t>
            </a:r>
            <a:r>
              <a:rPr lang="en-GB" sz="1400" dirty="0" err="1">
                <a:solidFill>
                  <a:srgbClr val="000000"/>
                </a:solidFill>
                <a:latin typeface="Univers for BP Light" panose="020B0403020202020204" pitchFamily="34" charset="0"/>
              </a:rPr>
              <a:t>inc</a:t>
            </a:r>
            <a:r>
              <a:rPr lang="en-GB" sz="1400" dirty="0">
                <a:solidFill>
                  <a:srgbClr val="000000"/>
                </a:solidFill>
                <a:latin typeface="Univers for BP Light" panose="020B0403020202020204" pitchFamily="34" charset="0"/>
              </a:rPr>
              <a:t> BECCS, air capture, land carbon) </a:t>
            </a:r>
          </a:p>
          <a:p>
            <a:pPr marR="0" defTabSz="914400" eaLnBrk="1" latinLnBrk="0" hangingPunct="1">
              <a:buClr>
                <a:srgbClr val="009900"/>
              </a:buClr>
              <a:buSzTx/>
              <a:tabLst/>
              <a:defRPr/>
            </a:pPr>
            <a:endParaRPr lang="en-GB" sz="1400" dirty="0">
              <a:solidFill>
                <a:srgbClr val="000000"/>
              </a:solidFill>
              <a:latin typeface="Univers for BP Light" panose="020B0403020202020204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9900"/>
              </a:buClr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vers for BP Light" panose="020B0403020202020204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588124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943AED-DA33-4EF1-BFF9-D543787144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1000" y="953675"/>
            <a:ext cx="6858000" cy="1022389"/>
          </a:xfrm>
        </p:spPr>
        <p:txBody>
          <a:bodyPr>
            <a:normAutofit/>
          </a:bodyPr>
          <a:lstStyle/>
          <a:p>
            <a:r>
              <a:rPr lang="en-GB" sz="3400" dirty="0">
                <a:solidFill>
                  <a:srgbClr val="00B050"/>
                </a:solidFill>
                <a:latin typeface="Univers for BP" panose="020B0603020202020204" pitchFamily="34" charset="0"/>
              </a:rPr>
              <a:t>Bryan Lovell Meeting 2019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779616C-4EC5-4625-B503-7F48436D027E}"/>
              </a:ext>
            </a:extLst>
          </p:cNvPr>
          <p:cNvSpPr txBox="1"/>
          <p:nvPr/>
        </p:nvSpPr>
        <p:spPr>
          <a:xfrm>
            <a:off x="672216" y="2105253"/>
            <a:ext cx="77995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dirty="0">
                <a:latin typeface="Univers for BP" panose="020B0603020202020204" pitchFamily="34" charset="0"/>
              </a:rPr>
              <a:t>Trends in world energy and decarbonisa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7FC4822-3C99-403B-A9D3-35A0A8D5F9D3}"/>
              </a:ext>
            </a:extLst>
          </p:cNvPr>
          <p:cNvSpPr txBox="1"/>
          <p:nvPr/>
        </p:nvSpPr>
        <p:spPr>
          <a:xfrm>
            <a:off x="1838420" y="3123028"/>
            <a:ext cx="5407200" cy="1788545"/>
          </a:xfrm>
          <a:prstGeom prst="rect">
            <a:avLst/>
          </a:prstGeom>
        </p:spPr>
        <p:txBody>
          <a:bodyPr vert="horz" lIns="576000" tIns="38963" rIns="36000" bIns="360000" rtlCol="0" anchor="ctr">
            <a:normAutofit fontScale="97500"/>
          </a:bodyPr>
          <a:lstStyle>
            <a:lvl1pPr algn="ctr">
              <a:spcBef>
                <a:spcPct val="0"/>
              </a:spcBef>
              <a:buNone/>
              <a:defRPr sz="3400">
                <a:solidFill>
                  <a:srgbClr val="00B050"/>
                </a:solidFill>
                <a:latin typeface="Univers for BP" panose="020B0603020202020204" pitchFamily="34" charset="0"/>
                <a:ea typeface="+mj-ea"/>
                <a:cs typeface="+mj-cs"/>
              </a:defRPr>
            </a:lvl1pPr>
          </a:lstStyle>
          <a:p>
            <a:r>
              <a:rPr lang="en-GB" sz="2000" dirty="0"/>
              <a:t>Spencer Dale</a:t>
            </a:r>
          </a:p>
          <a:p>
            <a:r>
              <a:rPr lang="en-GB" sz="2000" dirty="0"/>
              <a:t>Group Chief Economist, BP</a:t>
            </a:r>
          </a:p>
        </p:txBody>
      </p:sp>
    </p:spTree>
    <p:extLst>
      <p:ext uri="{BB962C8B-B14F-4D97-AF65-F5344CB8AC3E}">
        <p14:creationId xmlns:p14="http://schemas.microsoft.com/office/powerpoint/2010/main" val="13965335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7119E33-4FA2-4A60-9C00-57451B32F86E}"/>
              </a:ext>
            </a:extLst>
          </p:cNvPr>
          <p:cNvSpPr>
            <a:spLocks noGrp="1"/>
          </p:cNvSpPr>
          <p:nvPr/>
        </p:nvSpPr>
        <p:spPr bwMode="auto">
          <a:xfrm>
            <a:off x="299618" y="311040"/>
            <a:ext cx="8557045" cy="4893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>
            <a:lvl1pPr marL="366175" indent="-366175" algn="l" rtl="0" eaLnBrk="1" fontAlgn="base" hangingPunct="1">
              <a:spcBef>
                <a:spcPts val="1800"/>
              </a:spcBef>
              <a:spcAft>
                <a:spcPct val="0"/>
              </a:spcAft>
              <a:buClr>
                <a:srgbClr val="99CC00"/>
              </a:buClr>
              <a:buFont typeface="Univers 45 Light" pitchFamily="2" charset="0"/>
              <a:buChar char="•"/>
              <a:defRPr>
                <a:solidFill>
                  <a:schemeClr val="tx1"/>
                </a:solidFill>
                <a:latin typeface="Univers Next W1G for BP Light" pitchFamily="34" charset="0"/>
                <a:ea typeface="+mn-ea"/>
                <a:cs typeface="+mn-cs"/>
              </a:defRPr>
            </a:lvl1pPr>
            <a:lvl2pPr marL="732348" indent="-364058" algn="l" rtl="0" eaLnBrk="1" fontAlgn="base" hangingPunct="1">
              <a:spcBef>
                <a:spcPts val="1800"/>
              </a:spcBef>
              <a:spcAft>
                <a:spcPct val="0"/>
              </a:spcAft>
              <a:buClr>
                <a:srgbClr val="99CC00"/>
              </a:buClr>
              <a:buFont typeface="Arial" charset="0"/>
              <a:buChar char="−"/>
              <a:defRPr>
                <a:solidFill>
                  <a:schemeClr val="tx1"/>
                </a:solidFill>
                <a:latin typeface="Univers Next W1G for BP Light" pitchFamily="34" charset="0"/>
                <a:cs typeface="+mn-cs"/>
              </a:defRPr>
            </a:lvl2pPr>
            <a:lvl3pPr marL="1077357" indent="-342891" algn="l" rtl="0" eaLnBrk="1" fontAlgn="base" hangingPunct="1">
              <a:spcBef>
                <a:spcPts val="1800"/>
              </a:spcBef>
              <a:spcAft>
                <a:spcPct val="0"/>
              </a:spcAft>
              <a:buClr>
                <a:srgbClr val="99CC00"/>
              </a:buClr>
              <a:buFont typeface="Arial" charset="0"/>
              <a:buChar char="−"/>
              <a:defRPr>
                <a:solidFill>
                  <a:schemeClr val="tx1"/>
                </a:solidFill>
                <a:latin typeface="Univers Next W1G for BP Light" pitchFamily="34" charset="0"/>
                <a:cs typeface="+mn-cs"/>
              </a:defRPr>
            </a:lvl3pPr>
            <a:lvl4pPr marL="1443531" indent="-364058" algn="l" rtl="0" eaLnBrk="1" fontAlgn="base" hangingPunct="1">
              <a:spcBef>
                <a:spcPts val="1800"/>
              </a:spcBef>
              <a:spcAft>
                <a:spcPct val="0"/>
              </a:spcAft>
              <a:buClr>
                <a:srgbClr val="99CC00"/>
              </a:buClr>
              <a:buFont typeface="Arial" charset="0"/>
              <a:buChar char="−"/>
              <a:defRPr>
                <a:solidFill>
                  <a:schemeClr val="tx1"/>
                </a:solidFill>
                <a:latin typeface="Univers Next W1G for BP Light" pitchFamily="34" charset="0"/>
                <a:cs typeface="+mn-cs"/>
              </a:defRPr>
            </a:lvl4pPr>
            <a:lvl5pPr marL="1807588" indent="-361942" algn="l" rtl="0" eaLnBrk="1" fontAlgn="base" hangingPunct="1">
              <a:spcBef>
                <a:spcPts val="1800"/>
              </a:spcBef>
              <a:spcAft>
                <a:spcPct val="0"/>
              </a:spcAft>
              <a:buClr>
                <a:srgbClr val="99CC00"/>
              </a:buClr>
              <a:buFont typeface="Arial" charset="0"/>
              <a:buChar char="−"/>
              <a:defRPr>
                <a:solidFill>
                  <a:schemeClr val="tx1"/>
                </a:solidFill>
                <a:latin typeface="Univers Next W1G for BP Light" pitchFamily="34" charset="0"/>
                <a:cs typeface="+mn-cs"/>
              </a:defRPr>
            </a:lvl5pPr>
            <a:lvl6pPr marL="2417173" indent="-361942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99CC00"/>
              </a:buClr>
              <a:buFont typeface="Arial" charset="0"/>
              <a:buChar char="−"/>
              <a:defRPr>
                <a:solidFill>
                  <a:schemeClr val="tx1"/>
                </a:solidFill>
                <a:latin typeface="+mn-lt"/>
                <a:cs typeface="+mn-cs"/>
              </a:defRPr>
            </a:lvl6pPr>
            <a:lvl7pPr marL="3026758" indent="-361942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99CC00"/>
              </a:buClr>
              <a:buFont typeface="Arial" charset="0"/>
              <a:buChar char="−"/>
              <a:defRPr>
                <a:solidFill>
                  <a:schemeClr val="tx1"/>
                </a:solidFill>
                <a:latin typeface="+mn-lt"/>
                <a:cs typeface="+mn-cs"/>
              </a:defRPr>
            </a:lvl7pPr>
            <a:lvl8pPr marL="3636342" indent="-361942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99CC00"/>
              </a:buClr>
              <a:buFont typeface="Arial" charset="0"/>
              <a:buChar char="−"/>
              <a:defRPr>
                <a:solidFill>
                  <a:schemeClr val="tx1"/>
                </a:solidFill>
                <a:latin typeface="+mn-lt"/>
                <a:cs typeface="+mn-cs"/>
              </a:defRPr>
            </a:lvl8pPr>
            <a:lvl9pPr marL="4245927" indent="-361942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99CC00"/>
              </a:buClr>
              <a:buFont typeface="Arial" charset="0"/>
              <a:buChar char="−"/>
              <a:defRPr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r>
              <a:rPr lang="en-GB" sz="2400" dirty="0">
                <a:latin typeface="Univers for BP" panose="020B0603020202020204" pitchFamily="34" charset="0"/>
                <a:ea typeface="+mj-ea"/>
                <a:cs typeface="+mj-cs"/>
              </a:rPr>
              <a:t>Energy system faces a dual challenge</a:t>
            </a:r>
          </a:p>
          <a:p>
            <a:endParaRPr lang="en-GB" sz="2100" dirty="0">
              <a:latin typeface="Univers for BP" panose="020B0603020202020204" pitchFamily="34" charset="0"/>
            </a:endParaRPr>
          </a:p>
          <a:p>
            <a:pPr marL="0" indent="0">
              <a:buNone/>
            </a:pPr>
            <a:endParaRPr lang="en-GB" sz="2100" dirty="0">
              <a:latin typeface="Univers for BP" panose="020B0603020202020204" pitchFamily="34" charset="0"/>
            </a:endParaRPr>
          </a:p>
        </p:txBody>
      </p:sp>
      <p:sp>
        <p:nvSpPr>
          <p:cNvPr id="4" name="Slide Number Placeholder 14">
            <a:extLst>
              <a:ext uri="{FF2B5EF4-FFF2-40B4-BE49-F238E27FC236}">
                <a16:creationId xmlns:a16="http://schemas.microsoft.com/office/drawing/2014/main" id="{4A073B72-A10D-4098-8F2D-B2AA5341D817}"/>
              </a:ext>
            </a:extLst>
          </p:cNvPr>
          <p:cNvSpPr txBox="1">
            <a:spLocks/>
          </p:cNvSpPr>
          <p:nvPr/>
        </p:nvSpPr>
        <p:spPr bwMode="auto">
          <a:xfrm>
            <a:off x="4339560" y="4918993"/>
            <a:ext cx="347662" cy="1643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77919" tIns="38960" rIns="77919" bIns="38960" numCol="1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Univers 45 Light" pitchFamily="2" charset="0"/>
                <a:ea typeface="+mn-ea"/>
                <a:cs typeface="Arial" charset="0"/>
              </a:defRPr>
            </a:lvl1pPr>
            <a:lvl2pPr marL="453917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2pPr>
            <a:lvl3pPr marL="907826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3pPr>
            <a:lvl4pPr marL="1361747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4pPr>
            <a:lvl5pPr marL="1815657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5pPr>
            <a:lvl6pPr marL="2269568" algn="l" defTabSz="907826" rtl="0" eaLnBrk="1" latinLnBrk="0" hangingPunct="1"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6pPr>
            <a:lvl7pPr marL="2723488" algn="l" defTabSz="907826" rtl="0" eaLnBrk="1" latinLnBrk="0" hangingPunct="1"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7pPr>
            <a:lvl8pPr marL="3177405" algn="l" defTabSz="907826" rtl="0" eaLnBrk="1" latinLnBrk="0" hangingPunct="1"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8pPr>
            <a:lvl9pPr marL="3631310" algn="l" defTabSz="907826" rtl="0" eaLnBrk="1" latinLnBrk="0" hangingPunct="1"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9pPr>
          </a:lstStyle>
          <a:p>
            <a:pPr marL="0" marR="0" lvl="0" indent="0" algn="r" defTabSz="7791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3425253-3FD2-44F6-BCAE-8C231F101B91}" type="slidenum"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vers for BP Light" panose="020B0403020202020204" pitchFamily="34" charset="0"/>
                <a:ea typeface="+mn-ea"/>
                <a:cs typeface="Arial" charset="0"/>
              </a:rPr>
              <a:pPr marL="0" marR="0" lvl="0" indent="0" algn="r" defTabSz="77919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vers for BP Light" panose="020B0403020202020204" pitchFamily="34" charset="0"/>
              <a:ea typeface="+mn-ea"/>
              <a:cs typeface="Arial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6A43B37-7175-4E1D-863A-B0BE67634CEF}"/>
              </a:ext>
            </a:extLst>
          </p:cNvPr>
          <p:cNvSpPr txBox="1"/>
          <p:nvPr/>
        </p:nvSpPr>
        <p:spPr>
          <a:xfrm>
            <a:off x="2621627" y="690261"/>
            <a:ext cx="39007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>
                <a:solidFill>
                  <a:srgbClr val="009900"/>
                </a:solidFill>
                <a:latin typeface="Univers for BP" panose="020B0603020202020204" pitchFamily="34" charset="0"/>
                <a:ea typeface="+mj-ea"/>
                <a:cs typeface="+mj-cs"/>
              </a:rPr>
              <a:t>More energy; less carbon </a:t>
            </a:r>
          </a:p>
        </p:txBody>
      </p:sp>
    </p:spTree>
    <p:extLst>
      <p:ext uri="{BB962C8B-B14F-4D97-AF65-F5344CB8AC3E}">
        <p14:creationId xmlns:p14="http://schemas.microsoft.com/office/powerpoint/2010/main" val="36441830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7119E33-4FA2-4A60-9C00-57451B32F86E}"/>
              </a:ext>
            </a:extLst>
          </p:cNvPr>
          <p:cNvSpPr>
            <a:spLocks noGrp="1"/>
          </p:cNvSpPr>
          <p:nvPr/>
        </p:nvSpPr>
        <p:spPr bwMode="auto">
          <a:xfrm>
            <a:off x="299618" y="311040"/>
            <a:ext cx="8557045" cy="4893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>
            <a:lvl1pPr marL="366175" indent="-366175" algn="l" rtl="0" eaLnBrk="1" fontAlgn="base" hangingPunct="1">
              <a:spcBef>
                <a:spcPts val="1800"/>
              </a:spcBef>
              <a:spcAft>
                <a:spcPct val="0"/>
              </a:spcAft>
              <a:buClr>
                <a:srgbClr val="99CC00"/>
              </a:buClr>
              <a:buFont typeface="Univers 45 Light" pitchFamily="2" charset="0"/>
              <a:buChar char="•"/>
              <a:defRPr>
                <a:solidFill>
                  <a:schemeClr val="tx1"/>
                </a:solidFill>
                <a:latin typeface="Univers Next W1G for BP Light" pitchFamily="34" charset="0"/>
                <a:ea typeface="+mn-ea"/>
                <a:cs typeface="+mn-cs"/>
              </a:defRPr>
            </a:lvl1pPr>
            <a:lvl2pPr marL="732348" indent="-364058" algn="l" rtl="0" eaLnBrk="1" fontAlgn="base" hangingPunct="1">
              <a:spcBef>
                <a:spcPts val="1800"/>
              </a:spcBef>
              <a:spcAft>
                <a:spcPct val="0"/>
              </a:spcAft>
              <a:buClr>
                <a:srgbClr val="99CC00"/>
              </a:buClr>
              <a:buFont typeface="Arial" charset="0"/>
              <a:buChar char="−"/>
              <a:defRPr>
                <a:solidFill>
                  <a:schemeClr val="tx1"/>
                </a:solidFill>
                <a:latin typeface="Univers Next W1G for BP Light" pitchFamily="34" charset="0"/>
                <a:cs typeface="+mn-cs"/>
              </a:defRPr>
            </a:lvl2pPr>
            <a:lvl3pPr marL="1077357" indent="-342891" algn="l" rtl="0" eaLnBrk="1" fontAlgn="base" hangingPunct="1">
              <a:spcBef>
                <a:spcPts val="1800"/>
              </a:spcBef>
              <a:spcAft>
                <a:spcPct val="0"/>
              </a:spcAft>
              <a:buClr>
                <a:srgbClr val="99CC00"/>
              </a:buClr>
              <a:buFont typeface="Arial" charset="0"/>
              <a:buChar char="−"/>
              <a:defRPr>
                <a:solidFill>
                  <a:schemeClr val="tx1"/>
                </a:solidFill>
                <a:latin typeface="Univers Next W1G for BP Light" pitchFamily="34" charset="0"/>
                <a:cs typeface="+mn-cs"/>
              </a:defRPr>
            </a:lvl3pPr>
            <a:lvl4pPr marL="1443531" indent="-364058" algn="l" rtl="0" eaLnBrk="1" fontAlgn="base" hangingPunct="1">
              <a:spcBef>
                <a:spcPts val="1800"/>
              </a:spcBef>
              <a:spcAft>
                <a:spcPct val="0"/>
              </a:spcAft>
              <a:buClr>
                <a:srgbClr val="99CC00"/>
              </a:buClr>
              <a:buFont typeface="Arial" charset="0"/>
              <a:buChar char="−"/>
              <a:defRPr>
                <a:solidFill>
                  <a:schemeClr val="tx1"/>
                </a:solidFill>
                <a:latin typeface="Univers Next W1G for BP Light" pitchFamily="34" charset="0"/>
                <a:cs typeface="+mn-cs"/>
              </a:defRPr>
            </a:lvl4pPr>
            <a:lvl5pPr marL="1807588" indent="-361942" algn="l" rtl="0" eaLnBrk="1" fontAlgn="base" hangingPunct="1">
              <a:spcBef>
                <a:spcPts val="1800"/>
              </a:spcBef>
              <a:spcAft>
                <a:spcPct val="0"/>
              </a:spcAft>
              <a:buClr>
                <a:srgbClr val="99CC00"/>
              </a:buClr>
              <a:buFont typeface="Arial" charset="0"/>
              <a:buChar char="−"/>
              <a:defRPr>
                <a:solidFill>
                  <a:schemeClr val="tx1"/>
                </a:solidFill>
                <a:latin typeface="Univers Next W1G for BP Light" pitchFamily="34" charset="0"/>
                <a:cs typeface="+mn-cs"/>
              </a:defRPr>
            </a:lvl5pPr>
            <a:lvl6pPr marL="2417173" indent="-361942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99CC00"/>
              </a:buClr>
              <a:buFont typeface="Arial" charset="0"/>
              <a:buChar char="−"/>
              <a:defRPr>
                <a:solidFill>
                  <a:schemeClr val="tx1"/>
                </a:solidFill>
                <a:latin typeface="+mn-lt"/>
                <a:cs typeface="+mn-cs"/>
              </a:defRPr>
            </a:lvl6pPr>
            <a:lvl7pPr marL="3026758" indent="-361942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99CC00"/>
              </a:buClr>
              <a:buFont typeface="Arial" charset="0"/>
              <a:buChar char="−"/>
              <a:defRPr>
                <a:solidFill>
                  <a:schemeClr val="tx1"/>
                </a:solidFill>
                <a:latin typeface="+mn-lt"/>
                <a:cs typeface="+mn-cs"/>
              </a:defRPr>
            </a:lvl7pPr>
            <a:lvl8pPr marL="3636342" indent="-361942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99CC00"/>
              </a:buClr>
              <a:buFont typeface="Arial" charset="0"/>
              <a:buChar char="−"/>
              <a:defRPr>
                <a:solidFill>
                  <a:schemeClr val="tx1"/>
                </a:solidFill>
                <a:latin typeface="+mn-lt"/>
                <a:cs typeface="+mn-cs"/>
              </a:defRPr>
            </a:lvl8pPr>
            <a:lvl9pPr marL="4245927" indent="-361942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99CC00"/>
              </a:buClr>
              <a:buFont typeface="Arial" charset="0"/>
              <a:buChar char="−"/>
              <a:defRPr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r>
              <a:rPr lang="en-GB" sz="2400" dirty="0">
                <a:latin typeface="Univers for BP" panose="020B0603020202020204" pitchFamily="34" charset="0"/>
                <a:ea typeface="+mj-ea"/>
                <a:cs typeface="+mj-cs"/>
              </a:rPr>
              <a:t>Energy system faces a dual challenge</a:t>
            </a:r>
          </a:p>
          <a:p>
            <a:endParaRPr lang="en-GB" sz="2100" dirty="0">
              <a:latin typeface="Univers for BP" panose="020B0603020202020204" pitchFamily="34" charset="0"/>
            </a:endParaRPr>
          </a:p>
          <a:p>
            <a:pPr marL="0" indent="0">
              <a:buNone/>
            </a:pPr>
            <a:endParaRPr lang="en-GB" sz="2100" dirty="0">
              <a:latin typeface="Univers for BP" panose="020B0603020202020204" pitchFamily="34" charset="0"/>
            </a:endParaRPr>
          </a:p>
        </p:txBody>
      </p:sp>
      <p:sp>
        <p:nvSpPr>
          <p:cNvPr id="4" name="Slide Number Placeholder 14">
            <a:extLst>
              <a:ext uri="{FF2B5EF4-FFF2-40B4-BE49-F238E27FC236}">
                <a16:creationId xmlns:a16="http://schemas.microsoft.com/office/drawing/2014/main" id="{4A073B72-A10D-4098-8F2D-B2AA5341D817}"/>
              </a:ext>
            </a:extLst>
          </p:cNvPr>
          <p:cNvSpPr txBox="1">
            <a:spLocks/>
          </p:cNvSpPr>
          <p:nvPr/>
        </p:nvSpPr>
        <p:spPr bwMode="auto">
          <a:xfrm>
            <a:off x="4339560" y="4918993"/>
            <a:ext cx="347662" cy="1643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77919" tIns="38960" rIns="77919" bIns="38960" numCol="1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Univers 45 Light" pitchFamily="2" charset="0"/>
                <a:ea typeface="+mn-ea"/>
                <a:cs typeface="Arial" charset="0"/>
              </a:defRPr>
            </a:lvl1pPr>
            <a:lvl2pPr marL="453917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2pPr>
            <a:lvl3pPr marL="907826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3pPr>
            <a:lvl4pPr marL="1361747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4pPr>
            <a:lvl5pPr marL="1815657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5pPr>
            <a:lvl6pPr marL="2269568" algn="l" defTabSz="907826" rtl="0" eaLnBrk="1" latinLnBrk="0" hangingPunct="1"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6pPr>
            <a:lvl7pPr marL="2723488" algn="l" defTabSz="907826" rtl="0" eaLnBrk="1" latinLnBrk="0" hangingPunct="1"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7pPr>
            <a:lvl8pPr marL="3177405" algn="l" defTabSz="907826" rtl="0" eaLnBrk="1" latinLnBrk="0" hangingPunct="1"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8pPr>
            <a:lvl9pPr marL="3631310" algn="l" defTabSz="907826" rtl="0" eaLnBrk="1" latinLnBrk="0" hangingPunct="1"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9pPr>
          </a:lstStyle>
          <a:p>
            <a:pPr marL="0" marR="0" lvl="0" indent="0" algn="r" defTabSz="7791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3425253-3FD2-44F6-BCAE-8C231F101B91}" type="slidenum"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vers for BP Light" panose="020B0403020202020204" pitchFamily="34" charset="0"/>
                <a:ea typeface="+mn-ea"/>
                <a:cs typeface="Arial" charset="0"/>
              </a:rPr>
              <a:pPr marL="0" marR="0" lvl="0" indent="0" algn="r" defTabSz="77919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vers for BP Light" panose="020B0403020202020204" pitchFamily="34" charset="0"/>
              <a:ea typeface="+mn-ea"/>
              <a:cs typeface="Arial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6A43B37-7175-4E1D-863A-B0BE67634CEF}"/>
              </a:ext>
            </a:extLst>
          </p:cNvPr>
          <p:cNvSpPr txBox="1"/>
          <p:nvPr/>
        </p:nvSpPr>
        <p:spPr>
          <a:xfrm>
            <a:off x="2621627" y="690261"/>
            <a:ext cx="39007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>
                <a:solidFill>
                  <a:srgbClr val="009900"/>
                </a:solidFill>
                <a:latin typeface="Univers for BP" panose="020B0603020202020204" pitchFamily="34" charset="0"/>
                <a:ea typeface="+mj-ea"/>
                <a:cs typeface="+mj-cs"/>
              </a:rPr>
              <a:t>More energy; less carbon 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1BC1143-24A0-4319-8A6A-CD3EA817DA7E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370365" y="1793847"/>
          <a:ext cx="3760201" cy="3038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25EEA167-415F-43D0-9047-5108F5F5C6E7}"/>
              </a:ext>
            </a:extLst>
          </p:cNvPr>
          <p:cNvSpPr txBox="1">
            <a:spLocks/>
          </p:cNvSpPr>
          <p:nvPr/>
        </p:nvSpPr>
        <p:spPr>
          <a:xfrm>
            <a:off x="488950" y="1252680"/>
            <a:ext cx="4110329" cy="525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defPPr>
              <a:defRPr lang="en-GB"/>
            </a:defPPr>
            <a:lvl1pPr algn="ctr" eaLnBrk="0" hangingPunct="0">
              <a:defRPr sz="1400" b="0">
                <a:solidFill>
                  <a:schemeClr val="tx1"/>
                </a:solidFill>
                <a:latin typeface="Univers for BP" panose="020B0603020202020204" pitchFamily="34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GB" dirty="0"/>
              <a:t>Human development index and energy consumption per head, 2018 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E092874-EE31-4029-B9BE-3D58E8020420}"/>
              </a:ext>
            </a:extLst>
          </p:cNvPr>
          <p:cNvSpPr txBox="1">
            <a:spLocks/>
          </p:cNvSpPr>
          <p:nvPr/>
        </p:nvSpPr>
        <p:spPr>
          <a:xfrm>
            <a:off x="1277226" y="4764446"/>
            <a:ext cx="1619450" cy="3188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788" tIns="45394" rIns="90788" bIns="45394">
            <a:spAutoFit/>
          </a:bodyPr>
          <a:lstStyle>
            <a:lvl1pPr marL="0" indent="0" algn="l" defTabSz="779252" rtl="0" eaLnBrk="1" latinLnBrk="0" hangingPunct="1">
              <a:lnSpc>
                <a:spcPts val="1875"/>
              </a:lnSpc>
              <a:spcBef>
                <a:spcPts val="0"/>
              </a:spcBef>
              <a:buFont typeface="Arial" pitchFamily="34" charset="0"/>
              <a:buNone/>
              <a:defRPr lang="en-GB" sz="1400" kern="1200" dirty="0">
                <a:solidFill>
                  <a:schemeClr val="tx1"/>
                </a:solidFill>
                <a:latin typeface="Univers for BP Light" panose="020B0403020202020204" pitchFamily="34" charset="0"/>
                <a:ea typeface="+mn-ea"/>
                <a:cs typeface="Arial" charset="0"/>
              </a:defRPr>
            </a:lvl1pPr>
            <a:lvl2pPr marL="633142" indent="-243516" algn="l" defTabSz="779252" rtl="0" eaLnBrk="1" latinLnBrk="0" hangingPunct="1">
              <a:lnSpc>
                <a:spcPts val="1875"/>
              </a:lnSpc>
              <a:spcBef>
                <a:spcPts val="0"/>
              </a:spcBef>
              <a:buFont typeface="Arial" pitchFamily="34" charset="0"/>
              <a:buChar char="–"/>
              <a:defRPr sz="1900" kern="1200">
                <a:solidFill>
                  <a:schemeClr val="tx1"/>
                </a:solidFill>
                <a:latin typeface="Univers for BP" panose="020B0603020202020204" pitchFamily="34" charset="0"/>
                <a:ea typeface="+mn-ea"/>
                <a:cs typeface="+mn-cs"/>
              </a:defRPr>
            </a:lvl2pPr>
            <a:lvl3pPr marL="974065" indent="-194813" algn="l" defTabSz="779252" rtl="0" eaLnBrk="1" latinLnBrk="0" hangingPunct="1">
              <a:lnSpc>
                <a:spcPts val="1875"/>
              </a:lnSpc>
              <a:spcBef>
                <a:spcPts val="0"/>
              </a:spcBef>
              <a:buFont typeface="Arial" pitchFamily="34" charset="0"/>
              <a:buChar char="•"/>
              <a:defRPr sz="1900" kern="1200">
                <a:solidFill>
                  <a:schemeClr val="tx1"/>
                </a:solidFill>
                <a:latin typeface="Univers for BP" panose="020B0603020202020204" pitchFamily="34" charset="0"/>
                <a:ea typeface="+mn-ea"/>
                <a:cs typeface="+mn-cs"/>
              </a:defRPr>
            </a:lvl3pPr>
            <a:lvl4pPr marL="1363690" indent="-194813" algn="l" defTabSz="779252" rtl="0" eaLnBrk="1" latinLnBrk="0" hangingPunct="1">
              <a:lnSpc>
                <a:spcPts val="1875"/>
              </a:lnSpc>
              <a:spcBef>
                <a:spcPts val="0"/>
              </a:spcBef>
              <a:buFont typeface="Arial" pitchFamily="34" charset="0"/>
              <a:buChar char="–"/>
              <a:defRPr sz="1900" kern="1200">
                <a:solidFill>
                  <a:schemeClr val="tx1"/>
                </a:solidFill>
                <a:latin typeface="Univers for BP" panose="020B0603020202020204" pitchFamily="34" charset="0"/>
                <a:ea typeface="+mn-ea"/>
                <a:cs typeface="+mn-cs"/>
              </a:defRPr>
            </a:lvl4pPr>
            <a:lvl5pPr marL="1753316" indent="-194813" algn="l" defTabSz="779252" rtl="0" eaLnBrk="1" latinLnBrk="0" hangingPunct="1">
              <a:lnSpc>
                <a:spcPts val="1875"/>
              </a:lnSpc>
              <a:spcBef>
                <a:spcPts val="0"/>
              </a:spcBef>
              <a:buFont typeface="Arial" pitchFamily="34" charset="0"/>
              <a:buChar char="»"/>
              <a:defRPr sz="1900" kern="1200">
                <a:solidFill>
                  <a:schemeClr val="tx1"/>
                </a:solidFill>
                <a:latin typeface="Univers for BP" panose="020B0603020202020204" pitchFamily="34" charset="0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1300" dirty="0"/>
              <a:t>Gigajoules/head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AC32C77-FCCA-4677-8ACA-A7C63BAA3E3C}"/>
              </a:ext>
            </a:extLst>
          </p:cNvPr>
          <p:cNvCxnSpPr>
            <a:cxnSpLocks/>
          </p:cNvCxnSpPr>
          <p:nvPr/>
        </p:nvCxnSpPr>
        <p:spPr bwMode="auto">
          <a:xfrm>
            <a:off x="1401996" y="1931325"/>
            <a:ext cx="0" cy="258284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514507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67119E33-4FA2-4A60-9C00-57451B32F86E}"/>
              </a:ext>
            </a:extLst>
          </p:cNvPr>
          <p:cNvSpPr>
            <a:spLocks noGrp="1"/>
          </p:cNvSpPr>
          <p:nvPr/>
        </p:nvSpPr>
        <p:spPr bwMode="auto">
          <a:xfrm>
            <a:off x="299618" y="311040"/>
            <a:ext cx="8557045" cy="4893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>
            <a:lvl1pPr marL="366175" indent="-366175" algn="l" rtl="0" eaLnBrk="1" fontAlgn="base" hangingPunct="1">
              <a:spcBef>
                <a:spcPts val="1800"/>
              </a:spcBef>
              <a:spcAft>
                <a:spcPct val="0"/>
              </a:spcAft>
              <a:buClr>
                <a:srgbClr val="99CC00"/>
              </a:buClr>
              <a:buFont typeface="Univers 45 Light" pitchFamily="2" charset="0"/>
              <a:buChar char="•"/>
              <a:defRPr>
                <a:solidFill>
                  <a:schemeClr val="tx1"/>
                </a:solidFill>
                <a:latin typeface="Univers Next W1G for BP Light" pitchFamily="34" charset="0"/>
                <a:ea typeface="+mn-ea"/>
                <a:cs typeface="+mn-cs"/>
              </a:defRPr>
            </a:lvl1pPr>
            <a:lvl2pPr marL="732348" indent="-364058" algn="l" rtl="0" eaLnBrk="1" fontAlgn="base" hangingPunct="1">
              <a:spcBef>
                <a:spcPts val="1800"/>
              </a:spcBef>
              <a:spcAft>
                <a:spcPct val="0"/>
              </a:spcAft>
              <a:buClr>
                <a:srgbClr val="99CC00"/>
              </a:buClr>
              <a:buFont typeface="Arial" charset="0"/>
              <a:buChar char="−"/>
              <a:defRPr>
                <a:solidFill>
                  <a:schemeClr val="tx1"/>
                </a:solidFill>
                <a:latin typeface="Univers Next W1G for BP Light" pitchFamily="34" charset="0"/>
                <a:cs typeface="+mn-cs"/>
              </a:defRPr>
            </a:lvl2pPr>
            <a:lvl3pPr marL="1077357" indent="-342891" algn="l" rtl="0" eaLnBrk="1" fontAlgn="base" hangingPunct="1">
              <a:spcBef>
                <a:spcPts val="1800"/>
              </a:spcBef>
              <a:spcAft>
                <a:spcPct val="0"/>
              </a:spcAft>
              <a:buClr>
                <a:srgbClr val="99CC00"/>
              </a:buClr>
              <a:buFont typeface="Arial" charset="0"/>
              <a:buChar char="−"/>
              <a:defRPr>
                <a:solidFill>
                  <a:schemeClr val="tx1"/>
                </a:solidFill>
                <a:latin typeface="Univers Next W1G for BP Light" pitchFamily="34" charset="0"/>
                <a:cs typeface="+mn-cs"/>
              </a:defRPr>
            </a:lvl3pPr>
            <a:lvl4pPr marL="1443531" indent="-364058" algn="l" rtl="0" eaLnBrk="1" fontAlgn="base" hangingPunct="1">
              <a:spcBef>
                <a:spcPts val="1800"/>
              </a:spcBef>
              <a:spcAft>
                <a:spcPct val="0"/>
              </a:spcAft>
              <a:buClr>
                <a:srgbClr val="99CC00"/>
              </a:buClr>
              <a:buFont typeface="Arial" charset="0"/>
              <a:buChar char="−"/>
              <a:defRPr>
                <a:solidFill>
                  <a:schemeClr val="tx1"/>
                </a:solidFill>
                <a:latin typeface="Univers Next W1G for BP Light" pitchFamily="34" charset="0"/>
                <a:cs typeface="+mn-cs"/>
              </a:defRPr>
            </a:lvl4pPr>
            <a:lvl5pPr marL="1807588" indent="-361942" algn="l" rtl="0" eaLnBrk="1" fontAlgn="base" hangingPunct="1">
              <a:spcBef>
                <a:spcPts val="1800"/>
              </a:spcBef>
              <a:spcAft>
                <a:spcPct val="0"/>
              </a:spcAft>
              <a:buClr>
                <a:srgbClr val="99CC00"/>
              </a:buClr>
              <a:buFont typeface="Arial" charset="0"/>
              <a:buChar char="−"/>
              <a:defRPr>
                <a:solidFill>
                  <a:schemeClr val="tx1"/>
                </a:solidFill>
                <a:latin typeface="Univers Next W1G for BP Light" pitchFamily="34" charset="0"/>
                <a:cs typeface="+mn-cs"/>
              </a:defRPr>
            </a:lvl5pPr>
            <a:lvl6pPr marL="2417173" indent="-361942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99CC00"/>
              </a:buClr>
              <a:buFont typeface="Arial" charset="0"/>
              <a:buChar char="−"/>
              <a:defRPr>
                <a:solidFill>
                  <a:schemeClr val="tx1"/>
                </a:solidFill>
                <a:latin typeface="+mn-lt"/>
                <a:cs typeface="+mn-cs"/>
              </a:defRPr>
            </a:lvl6pPr>
            <a:lvl7pPr marL="3026758" indent="-361942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99CC00"/>
              </a:buClr>
              <a:buFont typeface="Arial" charset="0"/>
              <a:buChar char="−"/>
              <a:defRPr>
                <a:solidFill>
                  <a:schemeClr val="tx1"/>
                </a:solidFill>
                <a:latin typeface="+mn-lt"/>
                <a:cs typeface="+mn-cs"/>
              </a:defRPr>
            </a:lvl7pPr>
            <a:lvl8pPr marL="3636342" indent="-361942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99CC00"/>
              </a:buClr>
              <a:buFont typeface="Arial" charset="0"/>
              <a:buChar char="−"/>
              <a:defRPr>
                <a:solidFill>
                  <a:schemeClr val="tx1"/>
                </a:solidFill>
                <a:latin typeface="+mn-lt"/>
                <a:cs typeface="+mn-cs"/>
              </a:defRPr>
            </a:lvl8pPr>
            <a:lvl9pPr marL="4245927" indent="-361942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rgbClr val="99CC00"/>
              </a:buClr>
              <a:buFont typeface="Arial" charset="0"/>
              <a:buChar char="−"/>
              <a:defRPr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r>
              <a:rPr lang="en-GB" sz="2400" dirty="0">
                <a:latin typeface="Univers for BP" panose="020B0603020202020204" pitchFamily="34" charset="0"/>
                <a:ea typeface="+mj-ea"/>
                <a:cs typeface="+mj-cs"/>
              </a:rPr>
              <a:t>Energy system faces a dual challenge</a:t>
            </a:r>
          </a:p>
          <a:p>
            <a:endParaRPr lang="en-GB" sz="2100" dirty="0">
              <a:latin typeface="Univers for BP" panose="020B0603020202020204" pitchFamily="34" charset="0"/>
            </a:endParaRPr>
          </a:p>
          <a:p>
            <a:pPr marL="0" indent="0">
              <a:buNone/>
            </a:pPr>
            <a:endParaRPr lang="en-GB" sz="2100" dirty="0">
              <a:latin typeface="Univers for BP" panose="020B0603020202020204" pitchFamily="34" charset="0"/>
            </a:endParaRPr>
          </a:p>
        </p:txBody>
      </p:sp>
      <p:sp>
        <p:nvSpPr>
          <p:cNvPr id="4" name="Slide Number Placeholder 14">
            <a:extLst>
              <a:ext uri="{FF2B5EF4-FFF2-40B4-BE49-F238E27FC236}">
                <a16:creationId xmlns:a16="http://schemas.microsoft.com/office/drawing/2014/main" id="{4A073B72-A10D-4098-8F2D-B2AA5341D817}"/>
              </a:ext>
            </a:extLst>
          </p:cNvPr>
          <p:cNvSpPr txBox="1">
            <a:spLocks/>
          </p:cNvSpPr>
          <p:nvPr/>
        </p:nvSpPr>
        <p:spPr bwMode="auto">
          <a:xfrm>
            <a:off x="4339560" y="4918993"/>
            <a:ext cx="347662" cy="1643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77919" tIns="38960" rIns="77919" bIns="38960" numCol="1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Univers 45 Light" pitchFamily="2" charset="0"/>
                <a:ea typeface="+mn-ea"/>
                <a:cs typeface="Arial" charset="0"/>
              </a:defRPr>
            </a:lvl1pPr>
            <a:lvl2pPr marL="453917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2pPr>
            <a:lvl3pPr marL="907826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3pPr>
            <a:lvl4pPr marL="1361747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4pPr>
            <a:lvl5pPr marL="1815657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5pPr>
            <a:lvl6pPr marL="2269568" algn="l" defTabSz="907826" rtl="0" eaLnBrk="1" latinLnBrk="0" hangingPunct="1"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6pPr>
            <a:lvl7pPr marL="2723488" algn="l" defTabSz="907826" rtl="0" eaLnBrk="1" latinLnBrk="0" hangingPunct="1"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7pPr>
            <a:lvl8pPr marL="3177405" algn="l" defTabSz="907826" rtl="0" eaLnBrk="1" latinLnBrk="0" hangingPunct="1"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8pPr>
            <a:lvl9pPr marL="3631310" algn="l" defTabSz="907826" rtl="0" eaLnBrk="1" latinLnBrk="0" hangingPunct="1"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9pPr>
          </a:lstStyle>
          <a:p>
            <a:pPr marL="0" marR="0" lvl="0" indent="0" algn="r" defTabSz="7791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3425253-3FD2-44F6-BCAE-8C231F101B91}" type="slidenum"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vers for BP Light" panose="020B0403020202020204" pitchFamily="34" charset="0"/>
                <a:ea typeface="+mn-ea"/>
                <a:cs typeface="Arial" charset="0"/>
              </a:rPr>
              <a:pPr marL="0" marR="0" lvl="0" indent="0" algn="r" defTabSz="77919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vers for BP Light" panose="020B0403020202020204" pitchFamily="34" charset="0"/>
              <a:ea typeface="+mn-ea"/>
              <a:cs typeface="Arial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6A43B37-7175-4E1D-863A-B0BE67634CEF}"/>
              </a:ext>
            </a:extLst>
          </p:cNvPr>
          <p:cNvSpPr txBox="1"/>
          <p:nvPr/>
        </p:nvSpPr>
        <p:spPr>
          <a:xfrm>
            <a:off x="2621627" y="690261"/>
            <a:ext cx="39007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>
                <a:solidFill>
                  <a:srgbClr val="009900"/>
                </a:solidFill>
                <a:latin typeface="Univers for BP" panose="020B0603020202020204" pitchFamily="34" charset="0"/>
                <a:ea typeface="+mj-ea"/>
                <a:cs typeface="+mj-cs"/>
              </a:rPr>
              <a:t>More energy; less carbon </a:t>
            </a:r>
          </a:p>
        </p:txBody>
      </p:sp>
      <p:sp>
        <p:nvSpPr>
          <p:cNvPr id="7" name="Text Box 4">
            <a:extLst>
              <a:ext uri="{FF2B5EF4-FFF2-40B4-BE49-F238E27FC236}">
                <a16:creationId xmlns:a16="http://schemas.microsoft.com/office/drawing/2014/main" id="{EEACA08C-A1D0-4E11-BF13-3B23B93E7D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44462" y="1646747"/>
            <a:ext cx="1488844" cy="268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8091" tIns="34046" rIns="68091" bIns="34046">
            <a:spAutoFit/>
          </a:bodyPr>
          <a:lstStyle>
            <a:defPPr>
              <a:defRPr lang="en-GB"/>
            </a:defPPr>
            <a:lvl1pPr>
              <a:spcBef>
                <a:spcPct val="50000"/>
              </a:spcBef>
              <a:buClr>
                <a:srgbClr val="99CC00"/>
              </a:buClr>
              <a:buFont typeface="Univers 45 Light" pitchFamily="2" charset="0"/>
              <a:defRPr sz="1500">
                <a:solidFill>
                  <a:srgbClr val="FFFFFF">
                    <a:lumMod val="50000"/>
                  </a:srgbClr>
                </a:solidFill>
                <a:latin typeface="+mn-lt"/>
                <a:cs typeface="+mn-cs"/>
              </a:defRPr>
            </a:lvl1pPr>
          </a:lstStyle>
          <a:p>
            <a:r>
              <a:rPr lang="en-GB" sz="1300" dirty="0">
                <a:solidFill>
                  <a:schemeClr val="tx1"/>
                </a:solidFill>
                <a:latin typeface="Univers for BP Light" panose="020B0403020202020204" pitchFamily="34" charset="0"/>
              </a:rPr>
              <a:t>Billion tonnes CO</a:t>
            </a:r>
            <a:r>
              <a:rPr lang="en-GB" sz="1300" baseline="-25000" dirty="0">
                <a:solidFill>
                  <a:schemeClr val="tx1"/>
                </a:solidFill>
                <a:latin typeface="Univers for BP Light" panose="020B0403020202020204" pitchFamily="34" charset="0"/>
              </a:rPr>
              <a:t>2</a:t>
            </a:r>
          </a:p>
        </p:txBody>
      </p:sp>
      <p:sp>
        <p:nvSpPr>
          <p:cNvPr id="8" name="Text Box 11">
            <a:extLst>
              <a:ext uri="{FF2B5EF4-FFF2-40B4-BE49-F238E27FC236}">
                <a16:creationId xmlns:a16="http://schemas.microsoft.com/office/drawing/2014/main" id="{64F2D5EA-210D-4D3A-BC18-60FBAE3798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36124" y="1261653"/>
            <a:ext cx="2965104" cy="309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defPPr>
              <a:defRPr lang="en-GB"/>
            </a:defPPr>
            <a:lvl1pPr algn="ctr" eaLnBrk="0" hangingPunct="0">
              <a:defRPr sz="12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GB" sz="1400" b="0" dirty="0">
                <a:solidFill>
                  <a:schemeClr val="tx1"/>
                </a:solidFill>
                <a:latin typeface="Univers for BP" panose="020B0603020202020204" pitchFamily="34" charset="0"/>
              </a:rPr>
              <a:t>Carbon</a:t>
            </a:r>
            <a:r>
              <a:rPr lang="en-GB" sz="1400" dirty="0">
                <a:solidFill>
                  <a:schemeClr val="tx1"/>
                </a:solidFill>
                <a:latin typeface="Univers for BP" panose="020B0603020202020204" pitchFamily="34" charset="0"/>
              </a:rPr>
              <a:t> </a:t>
            </a:r>
            <a:r>
              <a:rPr lang="en-GB" sz="1400" b="0" dirty="0">
                <a:solidFill>
                  <a:schemeClr val="tx1"/>
                </a:solidFill>
                <a:latin typeface="Univers for BP" panose="020B0603020202020204" pitchFamily="34" charset="0"/>
              </a:rPr>
              <a:t>emissions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8D532D34-3551-494D-8BE7-F0528EECAB6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01878878"/>
              </p:ext>
            </p:extLst>
          </p:nvPr>
        </p:nvGraphicFramePr>
        <p:xfrm>
          <a:off x="4918841" y="1896804"/>
          <a:ext cx="3689875" cy="29191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A1BC1143-24A0-4319-8A6A-CD3EA817DA7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05002016"/>
              </p:ext>
            </p:extLst>
          </p:nvPr>
        </p:nvGraphicFramePr>
        <p:xfrm>
          <a:off x="370365" y="1793847"/>
          <a:ext cx="3760201" cy="3038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25EEA167-415F-43D0-9047-5108F5F5C6E7}"/>
              </a:ext>
            </a:extLst>
          </p:cNvPr>
          <p:cNvSpPr txBox="1">
            <a:spLocks/>
          </p:cNvSpPr>
          <p:nvPr/>
        </p:nvSpPr>
        <p:spPr>
          <a:xfrm>
            <a:off x="488950" y="1252680"/>
            <a:ext cx="4110329" cy="525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defPPr>
              <a:defRPr lang="en-GB"/>
            </a:defPPr>
            <a:lvl1pPr algn="ctr" eaLnBrk="0" hangingPunct="0">
              <a:defRPr sz="1400" b="0">
                <a:solidFill>
                  <a:schemeClr val="tx1"/>
                </a:solidFill>
                <a:latin typeface="Univers for BP" panose="020B0603020202020204" pitchFamily="34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GB" dirty="0"/>
              <a:t>Human development index and energy consumption per head, 2018 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E092874-EE31-4029-B9BE-3D58E8020420}"/>
              </a:ext>
            </a:extLst>
          </p:cNvPr>
          <p:cNvSpPr txBox="1">
            <a:spLocks/>
          </p:cNvSpPr>
          <p:nvPr/>
        </p:nvSpPr>
        <p:spPr>
          <a:xfrm>
            <a:off x="1277226" y="4764446"/>
            <a:ext cx="1619450" cy="3188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788" tIns="45394" rIns="90788" bIns="45394">
            <a:spAutoFit/>
          </a:bodyPr>
          <a:lstStyle>
            <a:lvl1pPr marL="0" indent="0" algn="l" defTabSz="779252" rtl="0" eaLnBrk="1" latinLnBrk="0" hangingPunct="1">
              <a:lnSpc>
                <a:spcPts val="1875"/>
              </a:lnSpc>
              <a:spcBef>
                <a:spcPts val="0"/>
              </a:spcBef>
              <a:buFont typeface="Arial" pitchFamily="34" charset="0"/>
              <a:buNone/>
              <a:defRPr lang="en-GB" sz="1400" kern="1200" dirty="0">
                <a:solidFill>
                  <a:schemeClr val="tx1"/>
                </a:solidFill>
                <a:latin typeface="Univers for BP Light" panose="020B0403020202020204" pitchFamily="34" charset="0"/>
                <a:ea typeface="+mn-ea"/>
                <a:cs typeface="Arial" charset="0"/>
              </a:defRPr>
            </a:lvl1pPr>
            <a:lvl2pPr marL="633142" indent="-243516" algn="l" defTabSz="779252" rtl="0" eaLnBrk="1" latinLnBrk="0" hangingPunct="1">
              <a:lnSpc>
                <a:spcPts val="1875"/>
              </a:lnSpc>
              <a:spcBef>
                <a:spcPts val="0"/>
              </a:spcBef>
              <a:buFont typeface="Arial" pitchFamily="34" charset="0"/>
              <a:buChar char="–"/>
              <a:defRPr sz="1900" kern="1200">
                <a:solidFill>
                  <a:schemeClr val="tx1"/>
                </a:solidFill>
                <a:latin typeface="Univers for BP" panose="020B0603020202020204" pitchFamily="34" charset="0"/>
                <a:ea typeface="+mn-ea"/>
                <a:cs typeface="+mn-cs"/>
              </a:defRPr>
            </a:lvl2pPr>
            <a:lvl3pPr marL="974065" indent="-194813" algn="l" defTabSz="779252" rtl="0" eaLnBrk="1" latinLnBrk="0" hangingPunct="1">
              <a:lnSpc>
                <a:spcPts val="1875"/>
              </a:lnSpc>
              <a:spcBef>
                <a:spcPts val="0"/>
              </a:spcBef>
              <a:buFont typeface="Arial" pitchFamily="34" charset="0"/>
              <a:buChar char="•"/>
              <a:defRPr sz="1900" kern="1200">
                <a:solidFill>
                  <a:schemeClr val="tx1"/>
                </a:solidFill>
                <a:latin typeface="Univers for BP" panose="020B0603020202020204" pitchFamily="34" charset="0"/>
                <a:ea typeface="+mn-ea"/>
                <a:cs typeface="+mn-cs"/>
              </a:defRPr>
            </a:lvl3pPr>
            <a:lvl4pPr marL="1363690" indent="-194813" algn="l" defTabSz="779252" rtl="0" eaLnBrk="1" latinLnBrk="0" hangingPunct="1">
              <a:lnSpc>
                <a:spcPts val="1875"/>
              </a:lnSpc>
              <a:spcBef>
                <a:spcPts val="0"/>
              </a:spcBef>
              <a:buFont typeface="Arial" pitchFamily="34" charset="0"/>
              <a:buChar char="–"/>
              <a:defRPr sz="1900" kern="1200">
                <a:solidFill>
                  <a:schemeClr val="tx1"/>
                </a:solidFill>
                <a:latin typeface="Univers for BP" panose="020B0603020202020204" pitchFamily="34" charset="0"/>
                <a:ea typeface="+mn-ea"/>
                <a:cs typeface="+mn-cs"/>
              </a:defRPr>
            </a:lvl4pPr>
            <a:lvl5pPr marL="1753316" indent="-194813" algn="l" defTabSz="779252" rtl="0" eaLnBrk="1" latinLnBrk="0" hangingPunct="1">
              <a:lnSpc>
                <a:spcPts val="1875"/>
              </a:lnSpc>
              <a:spcBef>
                <a:spcPts val="0"/>
              </a:spcBef>
              <a:buFont typeface="Arial" pitchFamily="34" charset="0"/>
              <a:buChar char="»"/>
              <a:defRPr sz="1900" kern="1200">
                <a:solidFill>
                  <a:schemeClr val="tx1"/>
                </a:solidFill>
                <a:latin typeface="Univers for BP" panose="020B0603020202020204" pitchFamily="34" charset="0"/>
                <a:ea typeface="+mn-ea"/>
                <a:cs typeface="+mn-cs"/>
              </a:defRPr>
            </a:lvl5pPr>
            <a:lvl6pPr marL="2142942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32568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922194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311820" indent="-194813" algn="l" defTabSz="77925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1300" dirty="0"/>
              <a:t>Gigajoules/head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5283FF2-8CAB-43A8-991D-25F5BBB33AF5}"/>
              </a:ext>
            </a:extLst>
          </p:cNvPr>
          <p:cNvCxnSpPr>
            <a:cxnSpLocks/>
          </p:cNvCxnSpPr>
          <p:nvPr/>
        </p:nvCxnSpPr>
        <p:spPr bwMode="auto">
          <a:xfrm>
            <a:off x="7260376" y="1896804"/>
            <a:ext cx="0" cy="2585837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6AC32C77-FCCA-4677-8ACA-A7C63BAA3E3C}"/>
              </a:ext>
            </a:extLst>
          </p:cNvPr>
          <p:cNvCxnSpPr>
            <a:cxnSpLocks/>
          </p:cNvCxnSpPr>
          <p:nvPr/>
        </p:nvCxnSpPr>
        <p:spPr bwMode="auto">
          <a:xfrm>
            <a:off x="1401996" y="1931325"/>
            <a:ext cx="0" cy="258284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9065480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14">
            <a:extLst>
              <a:ext uri="{FF2B5EF4-FFF2-40B4-BE49-F238E27FC236}">
                <a16:creationId xmlns:a16="http://schemas.microsoft.com/office/drawing/2014/main" id="{4A073B72-A10D-4098-8F2D-B2AA5341D817}"/>
              </a:ext>
            </a:extLst>
          </p:cNvPr>
          <p:cNvSpPr txBox="1">
            <a:spLocks/>
          </p:cNvSpPr>
          <p:nvPr/>
        </p:nvSpPr>
        <p:spPr bwMode="auto">
          <a:xfrm>
            <a:off x="4339560" y="4918993"/>
            <a:ext cx="347662" cy="1643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77919" tIns="38960" rIns="77919" bIns="38960" numCol="1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Univers 45 Light" pitchFamily="2" charset="0"/>
                <a:ea typeface="+mn-ea"/>
                <a:cs typeface="Arial" charset="0"/>
              </a:defRPr>
            </a:lvl1pPr>
            <a:lvl2pPr marL="453917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2pPr>
            <a:lvl3pPr marL="907826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3pPr>
            <a:lvl4pPr marL="1361747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4pPr>
            <a:lvl5pPr marL="1815657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5pPr>
            <a:lvl6pPr marL="2269568" algn="l" defTabSz="907826" rtl="0" eaLnBrk="1" latinLnBrk="0" hangingPunct="1"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6pPr>
            <a:lvl7pPr marL="2723488" algn="l" defTabSz="907826" rtl="0" eaLnBrk="1" latinLnBrk="0" hangingPunct="1"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7pPr>
            <a:lvl8pPr marL="3177405" algn="l" defTabSz="907826" rtl="0" eaLnBrk="1" latinLnBrk="0" hangingPunct="1"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8pPr>
            <a:lvl9pPr marL="3631310" algn="l" defTabSz="907826" rtl="0" eaLnBrk="1" latinLnBrk="0" hangingPunct="1"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9pPr>
          </a:lstStyle>
          <a:p>
            <a:pPr marL="0" marR="0" lvl="0" indent="0" algn="r" defTabSz="7791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3425253-3FD2-44F6-BCAE-8C231F101B91}" type="slidenum"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vers for BP Light" panose="020B0403020202020204" pitchFamily="34" charset="0"/>
                <a:ea typeface="+mn-ea"/>
                <a:cs typeface="Arial" charset="0"/>
              </a:rPr>
              <a:pPr marL="0" marR="0" lvl="0" indent="0" algn="r" defTabSz="77919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vers for BP Light" panose="020B0403020202020204" pitchFamily="34" charset="0"/>
              <a:ea typeface="+mn-ea"/>
              <a:cs typeface="Arial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0D54BFE-6CE4-4B28-A496-CEA12A3A5FB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1828" y="152803"/>
            <a:ext cx="8153400" cy="697706"/>
          </a:xfrm>
        </p:spPr>
        <p:txBody>
          <a:bodyPr/>
          <a:lstStyle/>
          <a:p>
            <a:r>
              <a:rPr lang="en-US" sz="2400" dirty="0"/>
              <a:t>Recent growth in carbon emissions </a:t>
            </a:r>
          </a:p>
        </p:txBody>
      </p:sp>
      <p:sp>
        <p:nvSpPr>
          <p:cNvPr id="20" name="Text Placeholder 1">
            <a:extLst>
              <a:ext uri="{FF2B5EF4-FFF2-40B4-BE49-F238E27FC236}">
                <a16:creationId xmlns:a16="http://schemas.microsoft.com/office/drawing/2014/main" id="{933D5818-05A5-4EA5-AE31-AAC4DFF35BA7}"/>
              </a:ext>
            </a:extLst>
          </p:cNvPr>
          <p:cNvSpPr txBox="1">
            <a:spLocks/>
          </p:cNvSpPr>
          <p:nvPr/>
        </p:nvSpPr>
        <p:spPr>
          <a:xfrm>
            <a:off x="488950" y="804029"/>
            <a:ext cx="4110329" cy="309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defPPr>
              <a:defRPr lang="en-GB"/>
            </a:defPPr>
            <a:lvl1pPr algn="ctr" eaLnBrk="0" hangingPunct="0">
              <a:defRPr sz="1400" b="0">
                <a:solidFill>
                  <a:schemeClr val="tx1"/>
                </a:solidFill>
                <a:latin typeface="Univers for BP" panose="020B0603020202020204" pitchFamily="34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GB" dirty="0"/>
              <a:t>GDP and carbon emissions</a:t>
            </a:r>
          </a:p>
        </p:txBody>
      </p:sp>
      <p:graphicFrame>
        <p:nvGraphicFramePr>
          <p:cNvPr id="6" name="Object 1">
            <a:extLst>
              <a:ext uri="{FF2B5EF4-FFF2-40B4-BE49-F238E27FC236}">
                <a16:creationId xmlns:a16="http://schemas.microsoft.com/office/drawing/2014/main" id="{F2BCB999-D8FF-4CA2-8879-F0E3970CBD8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51181912"/>
              </p:ext>
            </p:extLst>
          </p:nvPr>
        </p:nvGraphicFramePr>
        <p:xfrm>
          <a:off x="364754" y="1213159"/>
          <a:ext cx="4358719" cy="37058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 Box 4">
            <a:extLst>
              <a:ext uri="{FF2B5EF4-FFF2-40B4-BE49-F238E27FC236}">
                <a16:creationId xmlns:a16="http://schemas.microsoft.com/office/drawing/2014/main" id="{851B1660-17B8-4203-897E-88943E4919E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1007" y="1117381"/>
            <a:ext cx="1488844" cy="268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8091" tIns="34046" rIns="68091" bIns="34046">
            <a:spAutoFit/>
          </a:bodyPr>
          <a:lstStyle>
            <a:defPPr>
              <a:defRPr lang="en-GB"/>
            </a:defPPr>
            <a:lvl1pPr>
              <a:spcBef>
                <a:spcPct val="50000"/>
              </a:spcBef>
              <a:buClr>
                <a:srgbClr val="99CC00"/>
              </a:buClr>
              <a:buFont typeface="Univers 45 Light" pitchFamily="2" charset="0"/>
              <a:defRPr sz="1500">
                <a:solidFill>
                  <a:srgbClr val="FFFFFF">
                    <a:lumMod val="50000"/>
                  </a:srgbClr>
                </a:solidFill>
                <a:latin typeface="+mn-lt"/>
                <a:cs typeface="+mn-cs"/>
              </a:defRPr>
            </a:lvl1pPr>
          </a:lstStyle>
          <a:p>
            <a:r>
              <a:rPr lang="en-GB" sz="1300" dirty="0">
                <a:solidFill>
                  <a:schemeClr val="tx1"/>
                </a:solidFill>
                <a:latin typeface="Univers for BP Light" panose="020B0403020202020204" pitchFamily="34" charset="0"/>
              </a:rPr>
              <a:t>Annual</a:t>
            </a:r>
            <a:r>
              <a:rPr lang="en-GB" sz="1800" baseline="-25000" dirty="0">
                <a:solidFill>
                  <a:schemeClr val="tx1"/>
                </a:solidFill>
                <a:latin typeface="Univers for BP Light" panose="020B0403020202020204" pitchFamily="34" charset="0"/>
              </a:rPr>
              <a:t> </a:t>
            </a:r>
            <a:r>
              <a:rPr lang="en-GB" sz="1300" dirty="0">
                <a:solidFill>
                  <a:schemeClr val="tx1"/>
                </a:solidFill>
                <a:latin typeface="Univers for BP Light" panose="020B0403020202020204" pitchFamily="34" charset="0"/>
              </a:rPr>
              <a:t>change, %</a:t>
            </a:r>
          </a:p>
        </p:txBody>
      </p:sp>
    </p:spTree>
    <p:extLst>
      <p:ext uri="{BB962C8B-B14F-4D97-AF65-F5344CB8AC3E}">
        <p14:creationId xmlns:p14="http://schemas.microsoft.com/office/powerpoint/2010/main" val="35470455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14">
            <a:extLst>
              <a:ext uri="{FF2B5EF4-FFF2-40B4-BE49-F238E27FC236}">
                <a16:creationId xmlns:a16="http://schemas.microsoft.com/office/drawing/2014/main" id="{4A073B72-A10D-4098-8F2D-B2AA5341D817}"/>
              </a:ext>
            </a:extLst>
          </p:cNvPr>
          <p:cNvSpPr txBox="1">
            <a:spLocks/>
          </p:cNvSpPr>
          <p:nvPr/>
        </p:nvSpPr>
        <p:spPr bwMode="auto">
          <a:xfrm>
            <a:off x="4339560" y="4918993"/>
            <a:ext cx="347662" cy="1643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77919" tIns="38960" rIns="77919" bIns="38960" numCol="1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Univers 45 Light" pitchFamily="2" charset="0"/>
                <a:ea typeface="+mn-ea"/>
                <a:cs typeface="Arial" charset="0"/>
              </a:defRPr>
            </a:lvl1pPr>
            <a:lvl2pPr marL="453917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2pPr>
            <a:lvl3pPr marL="907826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3pPr>
            <a:lvl4pPr marL="1361747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4pPr>
            <a:lvl5pPr marL="1815657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5pPr>
            <a:lvl6pPr marL="2269568" algn="l" defTabSz="907826" rtl="0" eaLnBrk="1" latinLnBrk="0" hangingPunct="1"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6pPr>
            <a:lvl7pPr marL="2723488" algn="l" defTabSz="907826" rtl="0" eaLnBrk="1" latinLnBrk="0" hangingPunct="1"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7pPr>
            <a:lvl8pPr marL="3177405" algn="l" defTabSz="907826" rtl="0" eaLnBrk="1" latinLnBrk="0" hangingPunct="1"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8pPr>
            <a:lvl9pPr marL="3631310" algn="l" defTabSz="907826" rtl="0" eaLnBrk="1" latinLnBrk="0" hangingPunct="1"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9pPr>
          </a:lstStyle>
          <a:p>
            <a:pPr marL="0" marR="0" lvl="0" indent="0" algn="r" defTabSz="7791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3425253-3FD2-44F6-BCAE-8C231F101B91}" type="slidenum"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vers for BP Light" panose="020B0403020202020204" pitchFamily="34" charset="0"/>
                <a:ea typeface="+mn-ea"/>
                <a:cs typeface="Arial" charset="0"/>
              </a:rPr>
              <a:pPr marL="0" marR="0" lvl="0" indent="0" algn="r" defTabSz="77919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vers for BP Light" panose="020B0403020202020204" pitchFamily="34" charset="0"/>
              <a:ea typeface="+mn-ea"/>
              <a:cs typeface="Arial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0D54BFE-6CE4-4B28-A496-CEA12A3A5FB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1828" y="152803"/>
            <a:ext cx="8153400" cy="697706"/>
          </a:xfrm>
        </p:spPr>
        <p:txBody>
          <a:bodyPr/>
          <a:lstStyle/>
          <a:p>
            <a:r>
              <a:rPr lang="en-US" sz="2400" dirty="0"/>
              <a:t>Recent growth in carbon emissions </a:t>
            </a:r>
          </a:p>
        </p:txBody>
      </p:sp>
      <p:sp>
        <p:nvSpPr>
          <p:cNvPr id="20" name="Text Placeholder 1">
            <a:extLst>
              <a:ext uri="{FF2B5EF4-FFF2-40B4-BE49-F238E27FC236}">
                <a16:creationId xmlns:a16="http://schemas.microsoft.com/office/drawing/2014/main" id="{933D5818-05A5-4EA5-AE31-AAC4DFF35BA7}"/>
              </a:ext>
            </a:extLst>
          </p:cNvPr>
          <p:cNvSpPr txBox="1">
            <a:spLocks/>
          </p:cNvSpPr>
          <p:nvPr/>
        </p:nvSpPr>
        <p:spPr>
          <a:xfrm>
            <a:off x="488950" y="804029"/>
            <a:ext cx="4110329" cy="309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defPPr>
              <a:defRPr lang="en-GB"/>
            </a:defPPr>
            <a:lvl1pPr algn="ctr" eaLnBrk="0" hangingPunct="0">
              <a:defRPr sz="1400" b="0">
                <a:solidFill>
                  <a:schemeClr val="tx1"/>
                </a:solidFill>
                <a:latin typeface="Univers for BP" panose="020B0603020202020204" pitchFamily="34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GB" dirty="0"/>
              <a:t>GDP and carbon emissions</a:t>
            </a:r>
          </a:p>
        </p:txBody>
      </p:sp>
      <p:graphicFrame>
        <p:nvGraphicFramePr>
          <p:cNvPr id="21" name="Object 2">
            <a:extLst>
              <a:ext uri="{FF2B5EF4-FFF2-40B4-BE49-F238E27FC236}">
                <a16:creationId xmlns:a16="http://schemas.microsoft.com/office/drawing/2014/main" id="{2CDC4BCA-260C-4FBE-8220-A3F2A4B6B50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34878516"/>
              </p:ext>
            </p:extLst>
          </p:nvPr>
        </p:nvGraphicFramePr>
        <p:xfrm>
          <a:off x="4723473" y="1113987"/>
          <a:ext cx="4530020" cy="4080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2" name="Text Box 4">
            <a:extLst>
              <a:ext uri="{FF2B5EF4-FFF2-40B4-BE49-F238E27FC236}">
                <a16:creationId xmlns:a16="http://schemas.microsoft.com/office/drawing/2014/main" id="{91618216-6DDF-4D40-AF44-2837920AE9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87222" y="1117381"/>
            <a:ext cx="1488844" cy="268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8091" tIns="34046" rIns="68091" bIns="34046">
            <a:spAutoFit/>
          </a:bodyPr>
          <a:lstStyle>
            <a:defPPr>
              <a:defRPr lang="en-GB"/>
            </a:defPPr>
            <a:lvl1pPr>
              <a:spcBef>
                <a:spcPct val="50000"/>
              </a:spcBef>
              <a:buClr>
                <a:srgbClr val="99CC00"/>
              </a:buClr>
              <a:buFont typeface="Univers 45 Light" pitchFamily="2" charset="0"/>
              <a:defRPr sz="1500">
                <a:solidFill>
                  <a:srgbClr val="FFFFFF">
                    <a:lumMod val="50000"/>
                  </a:srgbClr>
                </a:solidFill>
                <a:latin typeface="+mn-lt"/>
                <a:cs typeface="+mn-cs"/>
              </a:defRPr>
            </a:lvl1pPr>
          </a:lstStyle>
          <a:p>
            <a:r>
              <a:rPr lang="en-GB" sz="1300" dirty="0">
                <a:solidFill>
                  <a:schemeClr val="tx1"/>
                </a:solidFill>
                <a:latin typeface="Univers for BP Light" panose="020B0403020202020204" pitchFamily="34" charset="0"/>
              </a:rPr>
              <a:t>Annual</a:t>
            </a:r>
            <a:r>
              <a:rPr lang="en-GB" sz="1800" baseline="-25000" dirty="0">
                <a:solidFill>
                  <a:schemeClr val="tx1"/>
                </a:solidFill>
                <a:latin typeface="Univers for BP Light" panose="020B0403020202020204" pitchFamily="34" charset="0"/>
              </a:rPr>
              <a:t> </a:t>
            </a:r>
            <a:r>
              <a:rPr lang="en-GB" sz="1300" dirty="0">
                <a:solidFill>
                  <a:schemeClr val="tx1"/>
                </a:solidFill>
                <a:latin typeface="Univers for BP Light" panose="020B0403020202020204" pitchFamily="34" charset="0"/>
              </a:rPr>
              <a:t>change, %</a:t>
            </a:r>
          </a:p>
        </p:txBody>
      </p:sp>
      <p:sp>
        <p:nvSpPr>
          <p:cNvPr id="24" name="Text Placeholder 1">
            <a:extLst>
              <a:ext uri="{FF2B5EF4-FFF2-40B4-BE49-F238E27FC236}">
                <a16:creationId xmlns:a16="http://schemas.microsoft.com/office/drawing/2014/main" id="{F33ACCC5-7636-4264-9DE1-5103EBC9263E}"/>
              </a:ext>
            </a:extLst>
          </p:cNvPr>
          <p:cNvSpPr txBox="1">
            <a:spLocks/>
          </p:cNvSpPr>
          <p:nvPr/>
        </p:nvSpPr>
        <p:spPr>
          <a:xfrm>
            <a:off x="4513391" y="804029"/>
            <a:ext cx="4110329" cy="3099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000" tIns="46800" rIns="90000" bIns="46800">
            <a:spAutoFit/>
          </a:bodyPr>
          <a:lstStyle>
            <a:defPPr>
              <a:defRPr lang="en-GB"/>
            </a:defPPr>
            <a:lvl1pPr algn="ctr" eaLnBrk="0" hangingPunct="0">
              <a:defRPr sz="1400" b="0">
                <a:solidFill>
                  <a:schemeClr val="tx1"/>
                </a:solidFill>
                <a:latin typeface="Univers for BP" panose="020B0603020202020204" pitchFamily="34" charset="0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GB" dirty="0"/>
              <a:t>Factors slowing recent growth in CO₂</a:t>
            </a:r>
          </a:p>
        </p:txBody>
      </p:sp>
      <p:sp>
        <p:nvSpPr>
          <p:cNvPr id="9" name="Text Box 4">
            <a:extLst>
              <a:ext uri="{FF2B5EF4-FFF2-40B4-BE49-F238E27FC236}">
                <a16:creationId xmlns:a16="http://schemas.microsoft.com/office/drawing/2014/main" id="{D404A25C-A8D5-4379-A7A9-14B4737DA5B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1007" y="1117381"/>
            <a:ext cx="1488844" cy="268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8091" tIns="34046" rIns="68091" bIns="34046">
            <a:spAutoFit/>
          </a:bodyPr>
          <a:lstStyle>
            <a:defPPr>
              <a:defRPr lang="en-GB"/>
            </a:defPPr>
            <a:lvl1pPr>
              <a:spcBef>
                <a:spcPct val="50000"/>
              </a:spcBef>
              <a:buClr>
                <a:srgbClr val="99CC00"/>
              </a:buClr>
              <a:buFont typeface="Univers 45 Light" pitchFamily="2" charset="0"/>
              <a:defRPr sz="1500">
                <a:solidFill>
                  <a:srgbClr val="FFFFFF">
                    <a:lumMod val="50000"/>
                  </a:srgbClr>
                </a:solidFill>
                <a:latin typeface="+mn-lt"/>
                <a:cs typeface="+mn-cs"/>
              </a:defRPr>
            </a:lvl1pPr>
          </a:lstStyle>
          <a:p>
            <a:r>
              <a:rPr lang="en-GB" sz="1300" dirty="0">
                <a:solidFill>
                  <a:schemeClr val="tx1"/>
                </a:solidFill>
                <a:latin typeface="Univers for BP Light" panose="020B0403020202020204" pitchFamily="34" charset="0"/>
              </a:rPr>
              <a:t>Annual</a:t>
            </a:r>
            <a:r>
              <a:rPr lang="en-GB" sz="1800" baseline="-25000" dirty="0">
                <a:solidFill>
                  <a:schemeClr val="tx1"/>
                </a:solidFill>
                <a:latin typeface="Univers for BP Light" panose="020B0403020202020204" pitchFamily="34" charset="0"/>
              </a:rPr>
              <a:t> </a:t>
            </a:r>
            <a:r>
              <a:rPr lang="en-GB" sz="1300" dirty="0">
                <a:solidFill>
                  <a:schemeClr val="tx1"/>
                </a:solidFill>
                <a:latin typeface="Univers for BP Light" panose="020B0403020202020204" pitchFamily="34" charset="0"/>
              </a:rPr>
              <a:t>change, %</a:t>
            </a:r>
          </a:p>
        </p:txBody>
      </p:sp>
      <p:graphicFrame>
        <p:nvGraphicFramePr>
          <p:cNvPr id="10" name="Object 1">
            <a:extLst>
              <a:ext uri="{FF2B5EF4-FFF2-40B4-BE49-F238E27FC236}">
                <a16:creationId xmlns:a16="http://schemas.microsoft.com/office/drawing/2014/main" id="{44C08E64-4631-4A63-9057-C31D765AE2D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49871609"/>
              </p:ext>
            </p:extLst>
          </p:nvPr>
        </p:nvGraphicFramePr>
        <p:xfrm>
          <a:off x="364754" y="1213159"/>
          <a:ext cx="4358719" cy="37058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0501603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277A2282-A5DF-4CD0-B1B5-DD0122AAFA4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57911510"/>
              </p:ext>
            </p:extLst>
          </p:nvPr>
        </p:nvGraphicFramePr>
        <p:xfrm>
          <a:off x="430540" y="1395271"/>
          <a:ext cx="4331960" cy="35386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Slide Number Placeholder 14">
            <a:extLst>
              <a:ext uri="{FF2B5EF4-FFF2-40B4-BE49-F238E27FC236}">
                <a16:creationId xmlns:a16="http://schemas.microsoft.com/office/drawing/2014/main" id="{4A073B72-A10D-4098-8F2D-B2AA5341D817}"/>
              </a:ext>
            </a:extLst>
          </p:cNvPr>
          <p:cNvSpPr txBox="1">
            <a:spLocks/>
          </p:cNvSpPr>
          <p:nvPr/>
        </p:nvSpPr>
        <p:spPr bwMode="auto">
          <a:xfrm>
            <a:off x="4339560" y="4918993"/>
            <a:ext cx="347662" cy="1643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77919" tIns="38960" rIns="77919" bIns="38960" numCol="1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Univers 45 Light" pitchFamily="2" charset="0"/>
                <a:ea typeface="+mn-ea"/>
                <a:cs typeface="Arial" charset="0"/>
              </a:defRPr>
            </a:lvl1pPr>
            <a:lvl2pPr marL="453917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2pPr>
            <a:lvl3pPr marL="907826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3pPr>
            <a:lvl4pPr marL="1361747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4pPr>
            <a:lvl5pPr marL="1815657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5pPr>
            <a:lvl6pPr marL="2269568" algn="l" defTabSz="907826" rtl="0" eaLnBrk="1" latinLnBrk="0" hangingPunct="1"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6pPr>
            <a:lvl7pPr marL="2723488" algn="l" defTabSz="907826" rtl="0" eaLnBrk="1" latinLnBrk="0" hangingPunct="1"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7pPr>
            <a:lvl8pPr marL="3177405" algn="l" defTabSz="907826" rtl="0" eaLnBrk="1" latinLnBrk="0" hangingPunct="1"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8pPr>
            <a:lvl9pPr marL="3631310" algn="l" defTabSz="907826" rtl="0" eaLnBrk="1" latinLnBrk="0" hangingPunct="1"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9pPr>
          </a:lstStyle>
          <a:p>
            <a:pPr marL="0" marR="0" lvl="0" indent="0" algn="r" defTabSz="7791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3425253-3FD2-44F6-BCAE-8C231F101B91}" type="slidenum"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vers for BP Light" panose="020B0403020202020204" pitchFamily="34" charset="0"/>
                <a:ea typeface="+mn-ea"/>
                <a:cs typeface="Arial" charset="0"/>
              </a:rPr>
              <a:pPr marL="0" marR="0" lvl="0" indent="0" algn="r" defTabSz="77919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vers for BP Light" panose="020B0403020202020204" pitchFamily="34" charset="0"/>
              <a:ea typeface="+mn-ea"/>
              <a:cs typeface="Arial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0D54BFE-6CE4-4B28-A496-CEA12A3A5FB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1828" y="152803"/>
            <a:ext cx="8153400" cy="697706"/>
          </a:xfrm>
        </p:spPr>
        <p:txBody>
          <a:bodyPr/>
          <a:lstStyle/>
          <a:p>
            <a:r>
              <a:rPr lang="en-US" sz="2400" dirty="0"/>
              <a:t>Pathway to a lower-carbon Energy system </a:t>
            </a:r>
          </a:p>
        </p:txBody>
      </p:sp>
      <p:sp>
        <p:nvSpPr>
          <p:cNvPr id="7" name="Text Box 11">
            <a:extLst>
              <a:ext uri="{FF2B5EF4-FFF2-40B4-BE49-F238E27FC236}">
                <a16:creationId xmlns:a16="http://schemas.microsoft.com/office/drawing/2014/main" id="{F6310F85-BAB8-4D05-9B29-CE6A795029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828" y="814068"/>
            <a:ext cx="523917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/>
        </p:spPr>
        <p:txBody>
          <a:bodyPr wrap="square" lIns="0" tIns="0" rIns="0" bIns="0">
            <a:spAutoFit/>
          </a:bodyPr>
          <a:lstStyle>
            <a:defPPr>
              <a:defRPr lang="en-GB"/>
            </a:defPPr>
            <a:lvl1pPr>
              <a:defRPr sz="1800">
                <a:solidFill>
                  <a:srgbClr val="000000"/>
                </a:solidFill>
              </a:defRPr>
            </a:lvl1pPr>
          </a:lstStyle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600" dirty="0">
                <a:latin typeface="Univers for BP" panose="020B0603020202020204" pitchFamily="34" charset="0"/>
                <a:cs typeface="Arial" charset="0"/>
              </a:rPr>
              <a:t>Carbon emissions</a:t>
            </a:r>
          </a:p>
        </p:txBody>
      </p:sp>
      <p:sp>
        <p:nvSpPr>
          <p:cNvPr id="9" name="Text Box 4">
            <a:extLst>
              <a:ext uri="{FF2B5EF4-FFF2-40B4-BE49-F238E27FC236}">
                <a16:creationId xmlns:a16="http://schemas.microsoft.com/office/drawing/2014/main" id="{93998A6E-5E8C-4C9D-9946-79B9651EF7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51451" y="1178392"/>
            <a:ext cx="1488844" cy="268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8091" tIns="34046" rIns="68091" bIns="34046">
            <a:spAutoFit/>
          </a:bodyPr>
          <a:lstStyle>
            <a:defPPr>
              <a:defRPr lang="en-GB"/>
            </a:defPPr>
            <a:lvl1pPr>
              <a:spcBef>
                <a:spcPct val="50000"/>
              </a:spcBef>
              <a:buClr>
                <a:srgbClr val="99CC00"/>
              </a:buClr>
              <a:buFont typeface="Univers 45 Light" pitchFamily="2" charset="0"/>
              <a:defRPr sz="1500">
                <a:solidFill>
                  <a:srgbClr val="FFFFFF">
                    <a:lumMod val="50000"/>
                  </a:srgbClr>
                </a:solidFill>
                <a:latin typeface="+mn-lt"/>
                <a:cs typeface="+mn-cs"/>
              </a:defRPr>
            </a:lvl1pPr>
          </a:lstStyle>
          <a:p>
            <a:r>
              <a:rPr lang="en-GB" sz="1300" dirty="0">
                <a:solidFill>
                  <a:schemeClr val="tx1"/>
                </a:solidFill>
                <a:latin typeface="Univers for BP Light" panose="020B0403020202020204" pitchFamily="34" charset="0"/>
              </a:rPr>
              <a:t>Billion tonnes CO</a:t>
            </a:r>
            <a:r>
              <a:rPr lang="en-GB" sz="1300" baseline="-25000" dirty="0">
                <a:solidFill>
                  <a:schemeClr val="tx1"/>
                </a:solidFill>
                <a:latin typeface="Univers for BP Light" panose="020B0403020202020204" pitchFamily="34" charset="0"/>
              </a:rPr>
              <a:t>2</a:t>
            </a:r>
          </a:p>
        </p:txBody>
      </p:sp>
      <p:sp>
        <p:nvSpPr>
          <p:cNvPr id="10" name="Text Box 4">
            <a:extLst>
              <a:ext uri="{FF2B5EF4-FFF2-40B4-BE49-F238E27FC236}">
                <a16:creationId xmlns:a16="http://schemas.microsoft.com/office/drawing/2014/main" id="{118DE0A4-9DDC-4DA2-8A13-EA9F31B4BBF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0540" y="1178392"/>
            <a:ext cx="1488844" cy="268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8091" tIns="34046" rIns="68091" bIns="34046">
            <a:spAutoFit/>
          </a:bodyPr>
          <a:lstStyle>
            <a:defPPr>
              <a:defRPr lang="en-GB"/>
            </a:defPPr>
            <a:lvl1pPr>
              <a:spcBef>
                <a:spcPct val="50000"/>
              </a:spcBef>
              <a:buClr>
                <a:srgbClr val="99CC00"/>
              </a:buClr>
              <a:buFont typeface="Univers 45 Light" pitchFamily="2" charset="0"/>
              <a:defRPr sz="1500">
                <a:solidFill>
                  <a:srgbClr val="FFFFFF">
                    <a:lumMod val="50000"/>
                  </a:srgbClr>
                </a:solidFill>
                <a:latin typeface="+mn-lt"/>
                <a:cs typeface="+mn-cs"/>
              </a:defRPr>
            </a:lvl1pPr>
          </a:lstStyle>
          <a:p>
            <a:r>
              <a:rPr lang="en-GB" sz="1300" dirty="0">
                <a:solidFill>
                  <a:schemeClr val="tx1"/>
                </a:solidFill>
                <a:latin typeface="Univers for BP Light" panose="020B0403020202020204" pitchFamily="34" charset="0"/>
              </a:rPr>
              <a:t>Billion tonnes CO</a:t>
            </a:r>
            <a:r>
              <a:rPr lang="en-GB" sz="1300" baseline="-25000" dirty="0">
                <a:solidFill>
                  <a:schemeClr val="tx1"/>
                </a:solidFill>
                <a:latin typeface="Univers for BP Light" panose="020B0403020202020204" pitchFamily="34" charset="0"/>
              </a:rPr>
              <a:t>2</a:t>
            </a: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08E9CC00-D254-4101-A9CC-A2CD64B1CF3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26513312"/>
              </p:ext>
            </p:extLst>
          </p:nvPr>
        </p:nvGraphicFramePr>
        <p:xfrm>
          <a:off x="4770438" y="1376221"/>
          <a:ext cx="4177751" cy="35808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TextBox 1">
            <a:extLst>
              <a:ext uri="{FF2B5EF4-FFF2-40B4-BE49-F238E27FC236}">
                <a16:creationId xmlns:a16="http://schemas.microsoft.com/office/drawing/2014/main" id="{C53842C9-3207-48D8-9847-F28990080BF6}"/>
              </a:ext>
            </a:extLst>
          </p:cNvPr>
          <p:cNvSpPr txBox="1"/>
          <p:nvPr/>
        </p:nvSpPr>
        <p:spPr>
          <a:xfrm>
            <a:off x="5368582" y="1395271"/>
            <a:ext cx="1438005" cy="514029"/>
          </a:xfrm>
          <a:prstGeom prst="rect">
            <a:avLst/>
          </a:prstGeom>
          <a:noFill/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000000"/>
                </a:solidFill>
                <a:latin typeface="Univers for BP" panose="020B0603020202020204" pitchFamily="34" charset="0"/>
                <a:cs typeface="Arial"/>
              </a:rPr>
              <a:t>Energy</a:t>
            </a:r>
          </a:p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dirty="0">
                <a:solidFill>
                  <a:srgbClr val="000000"/>
                </a:solidFill>
                <a:latin typeface="Univers for BP" panose="020B0603020202020204" pitchFamily="34" charset="0"/>
                <a:ea typeface="Univers 55"/>
                <a:cs typeface="Univers 55"/>
              </a:rPr>
              <a:t>intensity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A63C03A-0F72-4E5D-B719-10D8D263F1E9}"/>
              </a:ext>
            </a:extLst>
          </p:cNvPr>
          <p:cNvGrpSpPr/>
          <p:nvPr/>
        </p:nvGrpSpPr>
        <p:grpSpPr>
          <a:xfrm rot="5400000">
            <a:off x="6846458" y="1357163"/>
            <a:ext cx="243111" cy="1142375"/>
            <a:chOff x="4462463" y="2562225"/>
            <a:chExt cx="176212" cy="1000126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6CC4664D-CDE7-411D-B60F-E6D4EA7412F1}"/>
                </a:ext>
              </a:extLst>
            </p:cNvPr>
            <p:cNvCxnSpPr/>
            <p:nvPr/>
          </p:nvCxnSpPr>
          <p:spPr bwMode="auto">
            <a:xfrm>
              <a:off x="4462463" y="2562227"/>
              <a:ext cx="176212" cy="0"/>
            </a:xfrm>
            <a:prstGeom prst="line">
              <a:avLst/>
            </a:prstGeom>
            <a:noFill/>
            <a:ln w="15875" cap="flat" cmpd="sng" algn="ctr">
              <a:solidFill>
                <a:srgbClr val="66666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5B188DA8-4F8D-431E-89F8-C91F7A89B255}"/>
                </a:ext>
              </a:extLst>
            </p:cNvPr>
            <p:cNvCxnSpPr/>
            <p:nvPr/>
          </p:nvCxnSpPr>
          <p:spPr bwMode="auto">
            <a:xfrm>
              <a:off x="4462463" y="3562351"/>
              <a:ext cx="176212" cy="0"/>
            </a:xfrm>
            <a:prstGeom prst="line">
              <a:avLst/>
            </a:prstGeom>
            <a:noFill/>
            <a:ln w="15875" cap="flat" cmpd="sng" algn="ctr">
              <a:solidFill>
                <a:srgbClr val="66666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6A47519A-7E28-4AEB-AB94-1F1EF0FD1EB9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548188" y="2562225"/>
              <a:ext cx="0" cy="995363"/>
            </a:xfrm>
            <a:prstGeom prst="line">
              <a:avLst/>
            </a:prstGeom>
            <a:noFill/>
            <a:ln w="15875" cap="flat" cmpd="sng" algn="ctr">
              <a:solidFill>
                <a:srgbClr val="66666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9" name="Text Box 11">
            <a:extLst>
              <a:ext uri="{FF2B5EF4-FFF2-40B4-BE49-F238E27FC236}">
                <a16:creationId xmlns:a16="http://schemas.microsoft.com/office/drawing/2014/main" id="{3191E8C6-D4F7-4695-9455-7AA223EB5B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80848" y="814068"/>
            <a:ext cx="523917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/>
        </p:spPr>
        <p:txBody>
          <a:bodyPr wrap="square" lIns="0" tIns="0" rIns="0" bIns="0">
            <a:spAutoFit/>
          </a:bodyPr>
          <a:lstStyle>
            <a:defPPr>
              <a:defRPr lang="en-GB"/>
            </a:defPPr>
            <a:lvl1pPr>
              <a:defRPr sz="1800">
                <a:solidFill>
                  <a:srgbClr val="000000"/>
                </a:solidFill>
              </a:defRPr>
            </a:lvl1pPr>
          </a:lstStyle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600" dirty="0">
                <a:latin typeface="Univers for BP" panose="020B0603020202020204" pitchFamily="34" charset="0"/>
                <a:cs typeface="Arial" charset="0"/>
              </a:rPr>
              <a:t>Carbon emissions in 2040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D8C013E1-8E41-4246-B612-84EB813AAE2B}"/>
              </a:ext>
            </a:extLst>
          </p:cNvPr>
          <p:cNvCxnSpPr>
            <a:cxnSpLocks/>
          </p:cNvCxnSpPr>
          <p:nvPr/>
        </p:nvCxnSpPr>
        <p:spPr bwMode="auto">
          <a:xfrm>
            <a:off x="3121928" y="1576552"/>
            <a:ext cx="0" cy="293435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7698610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14">
            <a:extLst>
              <a:ext uri="{FF2B5EF4-FFF2-40B4-BE49-F238E27FC236}">
                <a16:creationId xmlns:a16="http://schemas.microsoft.com/office/drawing/2014/main" id="{4A073B72-A10D-4098-8F2D-B2AA5341D817}"/>
              </a:ext>
            </a:extLst>
          </p:cNvPr>
          <p:cNvSpPr txBox="1">
            <a:spLocks/>
          </p:cNvSpPr>
          <p:nvPr/>
        </p:nvSpPr>
        <p:spPr bwMode="auto">
          <a:xfrm>
            <a:off x="4339560" y="4918993"/>
            <a:ext cx="347662" cy="1643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77919" tIns="38960" rIns="77919" bIns="38960" numCol="1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Univers 45 Light" pitchFamily="2" charset="0"/>
                <a:ea typeface="+mn-ea"/>
                <a:cs typeface="Arial" charset="0"/>
              </a:defRPr>
            </a:lvl1pPr>
            <a:lvl2pPr marL="453917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2pPr>
            <a:lvl3pPr marL="907826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3pPr>
            <a:lvl4pPr marL="1361747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4pPr>
            <a:lvl5pPr marL="1815657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5pPr>
            <a:lvl6pPr marL="2269568" algn="l" defTabSz="907826" rtl="0" eaLnBrk="1" latinLnBrk="0" hangingPunct="1"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6pPr>
            <a:lvl7pPr marL="2723488" algn="l" defTabSz="907826" rtl="0" eaLnBrk="1" latinLnBrk="0" hangingPunct="1"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7pPr>
            <a:lvl8pPr marL="3177405" algn="l" defTabSz="907826" rtl="0" eaLnBrk="1" latinLnBrk="0" hangingPunct="1"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8pPr>
            <a:lvl9pPr marL="3631310" algn="l" defTabSz="907826" rtl="0" eaLnBrk="1" latinLnBrk="0" hangingPunct="1"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9pPr>
          </a:lstStyle>
          <a:p>
            <a:pPr marL="0" marR="0" lvl="0" indent="0" algn="r" defTabSz="7791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3425253-3FD2-44F6-BCAE-8C231F101B91}" type="slidenum"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vers for BP Light" panose="020B0403020202020204" pitchFamily="34" charset="0"/>
                <a:ea typeface="+mn-ea"/>
                <a:cs typeface="Arial" charset="0"/>
              </a:rPr>
              <a:pPr marL="0" marR="0" lvl="0" indent="0" algn="r" defTabSz="77919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vers for BP Light" panose="020B0403020202020204" pitchFamily="34" charset="0"/>
              <a:ea typeface="+mn-ea"/>
              <a:cs typeface="Arial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0D54BFE-6CE4-4B28-A496-CEA12A3A5FB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1828" y="152803"/>
            <a:ext cx="8153400" cy="697706"/>
          </a:xfrm>
        </p:spPr>
        <p:txBody>
          <a:bodyPr/>
          <a:lstStyle/>
          <a:p>
            <a:r>
              <a:rPr lang="en-US" sz="2400" dirty="0"/>
              <a:t>Fuel shares in power generation</a:t>
            </a:r>
          </a:p>
        </p:txBody>
      </p:sp>
      <p:graphicFrame>
        <p:nvGraphicFramePr>
          <p:cNvPr id="19" name="Object 1">
            <a:extLst>
              <a:ext uri="{FF2B5EF4-FFF2-40B4-BE49-F238E27FC236}">
                <a16:creationId xmlns:a16="http://schemas.microsoft.com/office/drawing/2014/main" id="{2153AED0-2932-4280-9548-9090941FCF4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62282636"/>
              </p:ext>
            </p:extLst>
          </p:nvPr>
        </p:nvGraphicFramePr>
        <p:xfrm>
          <a:off x="-1" y="1023938"/>
          <a:ext cx="8856663" cy="40593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8697896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14">
            <a:extLst>
              <a:ext uri="{FF2B5EF4-FFF2-40B4-BE49-F238E27FC236}">
                <a16:creationId xmlns:a16="http://schemas.microsoft.com/office/drawing/2014/main" id="{4A073B72-A10D-4098-8F2D-B2AA5341D817}"/>
              </a:ext>
            </a:extLst>
          </p:cNvPr>
          <p:cNvSpPr txBox="1">
            <a:spLocks/>
          </p:cNvSpPr>
          <p:nvPr/>
        </p:nvSpPr>
        <p:spPr bwMode="auto">
          <a:xfrm>
            <a:off x="4339560" y="4918993"/>
            <a:ext cx="347662" cy="1643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77919" tIns="38960" rIns="77919" bIns="38960" numCol="1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tx1"/>
                </a:solidFill>
                <a:latin typeface="Univers 45 Light" pitchFamily="2" charset="0"/>
                <a:ea typeface="+mn-ea"/>
                <a:cs typeface="Arial" charset="0"/>
              </a:defRPr>
            </a:lvl1pPr>
            <a:lvl2pPr marL="453917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2pPr>
            <a:lvl3pPr marL="907826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3pPr>
            <a:lvl4pPr marL="1361747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4pPr>
            <a:lvl5pPr marL="1815657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5pPr>
            <a:lvl6pPr marL="2269568" algn="l" defTabSz="907826" rtl="0" eaLnBrk="1" latinLnBrk="0" hangingPunct="1"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6pPr>
            <a:lvl7pPr marL="2723488" algn="l" defTabSz="907826" rtl="0" eaLnBrk="1" latinLnBrk="0" hangingPunct="1"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7pPr>
            <a:lvl8pPr marL="3177405" algn="l" defTabSz="907826" rtl="0" eaLnBrk="1" latinLnBrk="0" hangingPunct="1"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8pPr>
            <a:lvl9pPr marL="3631310" algn="l" defTabSz="907826" rtl="0" eaLnBrk="1" latinLnBrk="0" hangingPunct="1">
              <a:defRPr sz="1200" kern="1200">
                <a:solidFill>
                  <a:srgbClr val="007833"/>
                </a:solidFill>
                <a:latin typeface="Univers 55" pitchFamily="2" charset="0"/>
                <a:ea typeface="+mn-ea"/>
                <a:cs typeface="Arial" charset="0"/>
              </a:defRPr>
            </a:lvl9pPr>
          </a:lstStyle>
          <a:p>
            <a:pPr marL="0" marR="0" lvl="0" indent="0" algn="r" defTabSz="77919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3425253-3FD2-44F6-BCAE-8C231F101B91}" type="slidenum">
              <a:rPr kumimoji="0" lang="en-GB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vers for BP Light" panose="020B0403020202020204" pitchFamily="34" charset="0"/>
                <a:ea typeface="+mn-ea"/>
                <a:cs typeface="Arial" charset="0"/>
              </a:rPr>
              <a:pPr marL="0" marR="0" lvl="0" indent="0" algn="r" defTabSz="77919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Univers for BP Light" panose="020B0403020202020204" pitchFamily="34" charset="0"/>
              <a:ea typeface="+mn-ea"/>
              <a:cs typeface="Arial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0D54BFE-6CE4-4B28-A496-CEA12A3A5FB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31828" y="181378"/>
            <a:ext cx="8153400" cy="697706"/>
          </a:xfrm>
        </p:spPr>
        <p:txBody>
          <a:bodyPr/>
          <a:lstStyle/>
          <a:p>
            <a:r>
              <a:rPr lang="en-US" sz="2200" dirty="0"/>
              <a:t>Fuel mix in a lower carbon energy system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93559826-C761-4408-8811-583E1D569B6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219469"/>
              </p:ext>
            </p:extLst>
          </p:nvPr>
        </p:nvGraphicFramePr>
        <p:xfrm>
          <a:off x="430540" y="1395271"/>
          <a:ext cx="4331960" cy="35386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 Box 11">
            <a:extLst>
              <a:ext uri="{FF2B5EF4-FFF2-40B4-BE49-F238E27FC236}">
                <a16:creationId xmlns:a16="http://schemas.microsoft.com/office/drawing/2014/main" id="{86F618A5-5572-40A8-9F20-97A24D764C1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117949" y="814068"/>
            <a:ext cx="5239172" cy="2873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/>
        </p:spPr>
        <p:txBody>
          <a:bodyPr wrap="square" lIns="0" tIns="0" rIns="0" bIns="0">
            <a:spAutoFit/>
          </a:bodyPr>
          <a:lstStyle>
            <a:defPPr>
              <a:defRPr lang="en-GB"/>
            </a:defPPr>
            <a:lvl1pPr>
              <a:defRPr sz="1800">
                <a:solidFill>
                  <a:srgbClr val="000000"/>
                </a:solidFill>
              </a:defRPr>
            </a:lvl1pPr>
          </a:lstStyle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867" dirty="0">
                <a:latin typeface="Univers for BP" panose="020B0603020202020204" pitchFamily="34" charset="0"/>
                <a:cs typeface="Arial" charset="0"/>
              </a:rPr>
              <a:t>Carbon emissions</a:t>
            </a:r>
          </a:p>
        </p:txBody>
      </p:sp>
      <p:sp>
        <p:nvSpPr>
          <p:cNvPr id="7" name="Text Box 4">
            <a:extLst>
              <a:ext uri="{FF2B5EF4-FFF2-40B4-BE49-F238E27FC236}">
                <a16:creationId xmlns:a16="http://schemas.microsoft.com/office/drawing/2014/main" id="{8A684143-6A4A-4F60-A55F-6C6DE274D2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0540" y="1167967"/>
            <a:ext cx="1488844" cy="268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8091" tIns="34046" rIns="68091" bIns="34046">
            <a:spAutoFit/>
          </a:bodyPr>
          <a:lstStyle>
            <a:defPPr>
              <a:defRPr lang="en-GB"/>
            </a:defPPr>
            <a:lvl1pPr>
              <a:spcBef>
                <a:spcPct val="50000"/>
              </a:spcBef>
              <a:buClr>
                <a:srgbClr val="99CC00"/>
              </a:buClr>
              <a:buFont typeface="Univers 45 Light" pitchFamily="2" charset="0"/>
              <a:defRPr sz="1500">
                <a:solidFill>
                  <a:srgbClr val="FFFFFF">
                    <a:lumMod val="50000"/>
                  </a:srgbClr>
                </a:solidFill>
                <a:latin typeface="+mn-lt"/>
                <a:cs typeface="+mn-cs"/>
              </a:defRPr>
            </a:lvl1pPr>
          </a:lstStyle>
          <a:p>
            <a:r>
              <a:rPr lang="en-GB" sz="1300" dirty="0">
                <a:solidFill>
                  <a:schemeClr val="tx1"/>
                </a:solidFill>
                <a:latin typeface="Univers for BP Light" panose="020B0403020202020204" pitchFamily="34" charset="0"/>
              </a:rPr>
              <a:t>Billion tonnes CO</a:t>
            </a:r>
            <a:r>
              <a:rPr lang="en-GB" sz="1300" baseline="-25000" dirty="0">
                <a:solidFill>
                  <a:schemeClr val="tx1"/>
                </a:solidFill>
                <a:latin typeface="Univers for BP Light" panose="020B0403020202020204" pitchFamily="34" charset="0"/>
              </a:rPr>
              <a:t>2</a:t>
            </a:r>
          </a:p>
        </p:txBody>
      </p:sp>
      <p:graphicFrame>
        <p:nvGraphicFramePr>
          <p:cNvPr id="8" name="Object 1">
            <a:extLst>
              <a:ext uri="{FF2B5EF4-FFF2-40B4-BE49-F238E27FC236}">
                <a16:creationId xmlns:a16="http://schemas.microsoft.com/office/drawing/2014/main" id="{F1530438-BF14-4A47-8F3D-19EC40A2E2A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03863656"/>
              </p:ext>
            </p:extLst>
          </p:nvPr>
        </p:nvGraphicFramePr>
        <p:xfrm>
          <a:off x="4687222" y="1266825"/>
          <a:ext cx="4260182" cy="38857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 Box 10">
            <a:extLst>
              <a:ext uri="{FF2B5EF4-FFF2-40B4-BE49-F238E27FC236}">
                <a16:creationId xmlns:a16="http://schemas.microsoft.com/office/drawing/2014/main" id="{3BB727D9-AF2C-4600-A3A5-DC1C9C9F5C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39622" y="1167967"/>
            <a:ext cx="870085" cy="2688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8091" tIns="34046" rIns="68091" bIns="34046">
            <a:spAutoFit/>
          </a:bodyPr>
          <a:lstStyle>
            <a:defPPr>
              <a:defRPr lang="en-GB"/>
            </a:defPPr>
            <a:lvl1pPr>
              <a:spcBef>
                <a:spcPct val="50000"/>
              </a:spcBef>
              <a:buClr>
                <a:srgbClr val="99CC00"/>
              </a:buClr>
              <a:buFont typeface="Univers 45 Light" pitchFamily="2" charset="0"/>
              <a:defRPr sz="1300">
                <a:solidFill>
                  <a:schemeClr val="tx1"/>
                </a:solidFill>
                <a:latin typeface="Univers for BP Light" panose="020B0403020202020204" pitchFamily="34" charset="0"/>
                <a:cs typeface="+mn-cs"/>
              </a:defRPr>
            </a:lvl1pPr>
          </a:lstStyle>
          <a:p>
            <a:r>
              <a:rPr lang="en-GB" dirty="0"/>
              <a:t>Billion toe</a:t>
            </a:r>
          </a:p>
        </p:txBody>
      </p:sp>
      <p:sp>
        <p:nvSpPr>
          <p:cNvPr id="10" name="Text Box 11">
            <a:extLst>
              <a:ext uri="{FF2B5EF4-FFF2-40B4-BE49-F238E27FC236}">
                <a16:creationId xmlns:a16="http://schemas.microsoft.com/office/drawing/2014/main" id="{A8FE577C-3871-4C5E-8FB4-39DC7D8D789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04828" y="814068"/>
            <a:ext cx="5239172" cy="2873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/>
        </p:spPr>
        <p:txBody>
          <a:bodyPr wrap="square" lIns="0" tIns="0" rIns="0" bIns="0">
            <a:spAutoFit/>
          </a:bodyPr>
          <a:lstStyle>
            <a:defPPr>
              <a:defRPr lang="en-GB"/>
            </a:defPPr>
            <a:lvl1pPr>
              <a:defRPr sz="1800">
                <a:solidFill>
                  <a:srgbClr val="000000"/>
                </a:solidFill>
              </a:defRPr>
            </a:lvl1pPr>
          </a:lstStyle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867" dirty="0">
                <a:latin typeface="Univers for BP" panose="020B0603020202020204" pitchFamily="34" charset="0"/>
                <a:cs typeface="Arial" charset="0"/>
              </a:rPr>
              <a:t>Primary energy consumption by fu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44BD0F8-18F7-4834-97A8-5B7767EF271A}"/>
              </a:ext>
            </a:extLst>
          </p:cNvPr>
          <p:cNvCxnSpPr>
            <a:cxnSpLocks/>
          </p:cNvCxnSpPr>
          <p:nvPr/>
        </p:nvCxnSpPr>
        <p:spPr bwMode="auto">
          <a:xfrm>
            <a:off x="3121928" y="1560786"/>
            <a:ext cx="0" cy="296674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12DD0C0-EB79-4073-A0EB-0C6DFE5D3214}"/>
              </a:ext>
            </a:extLst>
          </p:cNvPr>
          <p:cNvGrpSpPr/>
          <p:nvPr/>
        </p:nvGrpSpPr>
        <p:grpSpPr>
          <a:xfrm>
            <a:off x="6327793" y="1436412"/>
            <a:ext cx="1507669" cy="248748"/>
            <a:chOff x="1423988" y="2307908"/>
            <a:chExt cx="2478709" cy="138113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273B0C27-412A-46EA-8954-1F615E1D257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426369" y="2379345"/>
              <a:ext cx="2476328" cy="0"/>
            </a:xfrm>
            <a:prstGeom prst="line">
              <a:avLst/>
            </a:prstGeom>
            <a:noFill/>
            <a:ln w="9525" cap="flat" cmpd="sng" algn="ctr">
              <a:solidFill>
                <a:srgbClr val="66666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4D2AB1B2-95CA-418E-94A7-E5F4CDCE2198}"/>
                </a:ext>
              </a:extLst>
            </p:cNvPr>
            <p:cNvCxnSpPr/>
            <p:nvPr/>
          </p:nvCxnSpPr>
          <p:spPr bwMode="auto">
            <a:xfrm>
              <a:off x="3900488" y="2307908"/>
              <a:ext cx="0" cy="138113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F54A0A24-58FB-49B5-B565-FACD8827CA0C}"/>
                </a:ext>
              </a:extLst>
            </p:cNvPr>
            <p:cNvCxnSpPr/>
            <p:nvPr/>
          </p:nvCxnSpPr>
          <p:spPr bwMode="auto">
            <a:xfrm>
              <a:off x="1423988" y="2307908"/>
              <a:ext cx="0" cy="138113"/>
            </a:xfrm>
            <a:prstGeom prst="line">
              <a:avLst/>
            </a:prstGeom>
            <a:noFill/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A43AE392-26D3-420F-8C42-B09EBF454539}"/>
              </a:ext>
            </a:extLst>
          </p:cNvPr>
          <p:cNvSpPr txBox="1"/>
          <p:nvPr/>
        </p:nvSpPr>
        <p:spPr>
          <a:xfrm>
            <a:off x="6704888" y="1403730"/>
            <a:ext cx="870085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Univers for BP Light" panose="020B0403020202020204" pitchFamily="34" charset="0"/>
                <a:ea typeface="+mn-ea"/>
                <a:cs typeface="Arial" charset="0"/>
              </a:rPr>
              <a:t>2040</a:t>
            </a:r>
          </a:p>
        </p:txBody>
      </p:sp>
    </p:spTree>
    <p:extLst>
      <p:ext uri="{BB962C8B-B14F-4D97-AF65-F5344CB8AC3E}">
        <p14:creationId xmlns:p14="http://schemas.microsoft.com/office/powerpoint/2010/main" val="41414293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EO2016_M">
  <a:themeElements>
    <a:clrScheme name="BP Statistical Reviewfinal 13">
      <a:dk1>
        <a:srgbClr val="000000"/>
      </a:dk1>
      <a:lt1>
        <a:srgbClr val="FFFFFF"/>
      </a:lt1>
      <a:dk2>
        <a:srgbClr val="99CC00"/>
      </a:dk2>
      <a:lt2>
        <a:srgbClr val="666666"/>
      </a:lt2>
      <a:accent1>
        <a:srgbClr val="FBCC00"/>
      </a:accent1>
      <a:accent2>
        <a:srgbClr val="DC0000"/>
      </a:accent2>
      <a:accent3>
        <a:srgbClr val="FFFFFF"/>
      </a:accent3>
      <a:accent4>
        <a:srgbClr val="000000"/>
      </a:accent4>
      <a:accent5>
        <a:srgbClr val="FDE2AA"/>
      </a:accent5>
      <a:accent6>
        <a:srgbClr val="C70000"/>
      </a:accent6>
      <a:hlink>
        <a:srgbClr val="7C05FF"/>
      </a:hlink>
      <a:folHlink>
        <a:srgbClr val="0086B4"/>
      </a:folHlink>
    </a:clrScheme>
    <a:fontScheme name="BP Statistical Reviewfinal">
      <a:majorFont>
        <a:latin typeface="Univers 55"/>
        <a:ea typeface=""/>
        <a:cs typeface="Arial"/>
      </a:majorFont>
      <a:minorFont>
        <a:latin typeface="Univers 55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rgbClr val="007833"/>
            </a:solidFill>
            <a:effectLst/>
            <a:latin typeface="Univers 55" pitchFamily="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rgbClr val="007833"/>
            </a:solidFill>
            <a:effectLst/>
            <a:latin typeface="Univers 55" pitchFamily="2" charset="0"/>
          </a:defRPr>
        </a:defPPr>
      </a:lstStyle>
    </a:lnDef>
  </a:objectDefaults>
  <a:extraClrSchemeLst>
    <a:extraClrScheme>
      <a:clrScheme name="BP Statistical Reviewfinal 1">
        <a:dk1>
          <a:srgbClr val="FF9900"/>
        </a:dk1>
        <a:lt1>
          <a:srgbClr val="FFFFCC"/>
        </a:lt1>
        <a:dk2>
          <a:srgbClr val="000000"/>
        </a:dk2>
        <a:lt2>
          <a:srgbClr val="FFCC00"/>
        </a:lt2>
        <a:accent1>
          <a:srgbClr val="6B6253"/>
        </a:accent1>
        <a:accent2>
          <a:srgbClr val="72543E"/>
        </a:accent2>
        <a:accent3>
          <a:srgbClr val="AAAAAA"/>
        </a:accent3>
        <a:accent4>
          <a:srgbClr val="DADAAE"/>
        </a:accent4>
        <a:accent5>
          <a:srgbClr val="BAB7B3"/>
        </a:accent5>
        <a:accent6>
          <a:srgbClr val="674B37"/>
        </a:accent6>
        <a:hlink>
          <a:srgbClr val="DA988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P Statistical Reviewfinal 2">
        <a:dk1>
          <a:srgbClr val="000000"/>
        </a:dk1>
        <a:lt1>
          <a:srgbClr val="FFFFFF"/>
        </a:lt1>
        <a:dk2>
          <a:srgbClr val="000000"/>
        </a:dk2>
        <a:lt2>
          <a:srgbClr val="006600"/>
        </a:lt2>
        <a:accent1>
          <a:srgbClr val="F5EBC1"/>
        </a:accent1>
        <a:accent2>
          <a:srgbClr val="FFCC00"/>
        </a:accent2>
        <a:accent3>
          <a:srgbClr val="FFFFFF"/>
        </a:accent3>
        <a:accent4>
          <a:srgbClr val="000000"/>
        </a:accent4>
        <a:accent5>
          <a:srgbClr val="F9F3DD"/>
        </a:accent5>
        <a:accent6>
          <a:srgbClr val="E7B900"/>
        </a:accent6>
        <a:hlink>
          <a:srgbClr val="D4876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3">
        <a:dk1>
          <a:srgbClr val="000000"/>
        </a:dk1>
        <a:lt1>
          <a:srgbClr val="FFFFFF"/>
        </a:lt1>
        <a:dk2>
          <a:srgbClr val="000000"/>
        </a:dk2>
        <a:lt2>
          <a:srgbClr val="292929"/>
        </a:lt2>
        <a:accent1>
          <a:srgbClr val="EAEAEA"/>
        </a:accent1>
        <a:accent2>
          <a:srgbClr val="969696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878787"/>
        </a:accent6>
        <a:hlink>
          <a:srgbClr val="5F5F5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4">
        <a:dk1>
          <a:srgbClr val="000000"/>
        </a:dk1>
        <a:lt1>
          <a:srgbClr val="FFFFFF"/>
        </a:lt1>
        <a:dk2>
          <a:srgbClr val="000000"/>
        </a:dk2>
        <a:lt2>
          <a:srgbClr val="006600"/>
        </a:lt2>
        <a:accent1>
          <a:srgbClr val="D8EBB3"/>
        </a:accent1>
        <a:accent2>
          <a:srgbClr val="CCCC00"/>
        </a:accent2>
        <a:accent3>
          <a:srgbClr val="FFFFFF"/>
        </a:accent3>
        <a:accent4>
          <a:srgbClr val="000000"/>
        </a:accent4>
        <a:accent5>
          <a:srgbClr val="E9F3D6"/>
        </a:accent5>
        <a:accent6>
          <a:srgbClr val="B9B900"/>
        </a:accent6>
        <a:hlink>
          <a:srgbClr val="FFBE7D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5">
        <a:dk1>
          <a:srgbClr val="000000"/>
        </a:dk1>
        <a:lt1>
          <a:srgbClr val="E5D3B3"/>
        </a:lt1>
        <a:dk2>
          <a:srgbClr val="800000"/>
        </a:dk2>
        <a:lt2>
          <a:srgbClr val="009900"/>
        </a:lt2>
        <a:accent1>
          <a:srgbClr val="D5B095"/>
        </a:accent1>
        <a:accent2>
          <a:srgbClr val="E28666"/>
        </a:accent2>
        <a:accent3>
          <a:srgbClr val="F0E6D6"/>
        </a:accent3>
        <a:accent4>
          <a:srgbClr val="000000"/>
        </a:accent4>
        <a:accent5>
          <a:srgbClr val="E7D4C8"/>
        </a:accent5>
        <a:accent6>
          <a:srgbClr val="CD795C"/>
        </a:accent6>
        <a:hlink>
          <a:srgbClr val="B75735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6">
        <a:dk1>
          <a:srgbClr val="99CC00"/>
        </a:dk1>
        <a:lt1>
          <a:srgbClr val="FFFFFF"/>
        </a:lt1>
        <a:dk2>
          <a:srgbClr val="51399D"/>
        </a:dk2>
        <a:lt2>
          <a:srgbClr val="FFFFCC"/>
        </a:lt2>
        <a:accent1>
          <a:srgbClr val="877CAA"/>
        </a:accent1>
        <a:accent2>
          <a:srgbClr val="000058"/>
        </a:accent2>
        <a:accent3>
          <a:srgbClr val="B3AECC"/>
        </a:accent3>
        <a:accent4>
          <a:srgbClr val="DADADA"/>
        </a:accent4>
        <a:accent5>
          <a:srgbClr val="C3BFD2"/>
        </a:accent5>
        <a:accent6>
          <a:srgbClr val="00004F"/>
        </a:accent6>
        <a:hlink>
          <a:srgbClr val="FFCC0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P Statistical Reviewfinal 7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99CC0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CAE2AA"/>
        </a:accent5>
        <a:accent6>
          <a:srgbClr val="E78A00"/>
        </a:accent6>
        <a:hlink>
          <a:srgbClr val="FF6600"/>
        </a:hlink>
        <a:folHlink>
          <a:srgbClr val="FFF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8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8FC20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C6DDAA"/>
        </a:accent5>
        <a:accent6>
          <a:srgbClr val="E78A00"/>
        </a:accent6>
        <a:hlink>
          <a:srgbClr val="FF6600"/>
        </a:hlink>
        <a:folHlink>
          <a:srgbClr val="FEF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9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FEF800"/>
        </a:accent1>
        <a:accent2>
          <a:srgbClr val="8FC200"/>
        </a:accent2>
        <a:accent3>
          <a:srgbClr val="FFFFFF"/>
        </a:accent3>
        <a:accent4>
          <a:srgbClr val="000000"/>
        </a:accent4>
        <a:accent5>
          <a:srgbClr val="FEFBAA"/>
        </a:accent5>
        <a:accent6>
          <a:srgbClr val="81B000"/>
        </a:accent6>
        <a:hlink>
          <a:srgbClr val="FF99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10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FEF800"/>
        </a:accent1>
        <a:accent2>
          <a:srgbClr val="85B400"/>
        </a:accent2>
        <a:accent3>
          <a:srgbClr val="FFFFFF"/>
        </a:accent3>
        <a:accent4>
          <a:srgbClr val="000000"/>
        </a:accent4>
        <a:accent5>
          <a:srgbClr val="FEFBAA"/>
        </a:accent5>
        <a:accent6>
          <a:srgbClr val="78A300"/>
        </a:accent6>
        <a:hlink>
          <a:srgbClr val="FF99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11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FEF800"/>
        </a:accent1>
        <a:accent2>
          <a:srgbClr val="7FAC00"/>
        </a:accent2>
        <a:accent3>
          <a:srgbClr val="FFFFFF"/>
        </a:accent3>
        <a:accent4>
          <a:srgbClr val="000000"/>
        </a:accent4>
        <a:accent5>
          <a:srgbClr val="FEFBAA"/>
        </a:accent5>
        <a:accent6>
          <a:srgbClr val="729B00"/>
        </a:accent6>
        <a:hlink>
          <a:srgbClr val="FF99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12">
        <a:dk1>
          <a:srgbClr val="000000"/>
        </a:dk1>
        <a:lt1>
          <a:srgbClr val="FFFFFF"/>
        </a:lt1>
        <a:dk2>
          <a:srgbClr val="99CC00"/>
        </a:dk2>
        <a:lt2>
          <a:srgbClr val="666666"/>
        </a:lt2>
        <a:accent1>
          <a:srgbClr val="FBCC00"/>
        </a:accent1>
        <a:accent2>
          <a:srgbClr val="DC0000"/>
        </a:accent2>
        <a:accent3>
          <a:srgbClr val="FFFFFF"/>
        </a:accent3>
        <a:accent4>
          <a:srgbClr val="000000"/>
        </a:accent4>
        <a:accent5>
          <a:srgbClr val="FDE2AA"/>
        </a:accent5>
        <a:accent6>
          <a:srgbClr val="C70000"/>
        </a:accent6>
        <a:hlink>
          <a:srgbClr val="6600D2"/>
        </a:hlink>
        <a:folHlink>
          <a:srgbClr val="0086B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13">
        <a:dk1>
          <a:srgbClr val="000000"/>
        </a:dk1>
        <a:lt1>
          <a:srgbClr val="FFFFFF"/>
        </a:lt1>
        <a:dk2>
          <a:srgbClr val="99CC00"/>
        </a:dk2>
        <a:lt2>
          <a:srgbClr val="666666"/>
        </a:lt2>
        <a:accent1>
          <a:srgbClr val="FBCC00"/>
        </a:accent1>
        <a:accent2>
          <a:srgbClr val="DC0000"/>
        </a:accent2>
        <a:accent3>
          <a:srgbClr val="FFFFFF"/>
        </a:accent3>
        <a:accent4>
          <a:srgbClr val="000000"/>
        </a:accent4>
        <a:accent5>
          <a:srgbClr val="FDE2AA"/>
        </a:accent5>
        <a:accent6>
          <a:srgbClr val="C70000"/>
        </a:accent6>
        <a:hlink>
          <a:srgbClr val="7C05FF"/>
        </a:hlink>
        <a:folHlink>
          <a:srgbClr val="0086B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Oil_North America_US">
      <a:srgbClr val="99CC00"/>
    </a:custClr>
    <a:custClr name="Natural Gas_Africa">
      <a:srgbClr val="DC0000"/>
    </a:custClr>
    <a:custClr name="Coal">
      <a:srgbClr val="666666"/>
    </a:custClr>
    <a:custClr name="Hydro-Transport">
      <a:srgbClr val="009EE0"/>
    </a:custClr>
    <a:custClr name="Nuclear-Asia Pacific">
      <a:srgbClr val="FFCC00"/>
    </a:custClr>
    <a:custClr name="Renewables_Middle East">
      <a:srgbClr val="FF6600"/>
    </a:custClr>
    <a:custClr name="Primary Energy-Power">
      <a:srgbClr val="6633C9"/>
    </a:custClr>
    <a:custClr name="SC America-Non-OPEC">
      <a:srgbClr val="006600"/>
    </a:custClr>
    <a:custClr name="Europe_Eurasia">
      <a:srgbClr val="3DA599"/>
    </a:custClr>
    <a:custClr name="China">
      <a:srgbClr val="3366FF"/>
    </a:custClr>
    <a:custClr name="India_LNG">
      <a:srgbClr val="8BDEFF"/>
    </a:custClr>
    <a:custClr name="FSU_Russia">
      <a:srgbClr val="660099"/>
    </a:custClr>
    <a:custClr name="Other FSU">
      <a:srgbClr val="CD9BFF"/>
    </a:custClr>
    <a:custClr name="Brazil">
      <a:srgbClr val="000099"/>
    </a:custClr>
    <a:custClr name="Canada_Other Sector">
      <a:srgbClr val="FF9999"/>
    </a:custClr>
    <a:custClr name="Mexico_Pipeline gas">
      <a:srgbClr val="993366"/>
    </a:custClr>
    <a:custClr name="OECD">
      <a:srgbClr val="009900"/>
    </a:custClr>
    <a:custClr name="Non-OECD">
      <a:srgbClr val="C8FB8D"/>
    </a:custClr>
    <a:custClr name="EU">
      <a:srgbClr val="C49100"/>
    </a:custClr>
    <a:custClr name="RoW_World_GDP">
      <a:srgbClr val="FF9900"/>
    </a:custClr>
    <a:custClr name="OPEC">
      <a:srgbClr val="FDF100"/>
    </a:custClr>
    <a:custClr name="Industry">
      <a:srgbClr val="CC0033"/>
    </a:custClr>
    <a:custClr name="Biofuels">
      <a:srgbClr val="339966"/>
    </a:custClr>
    <a:custClr name="Generic blue-green">
      <a:srgbClr val="00CCCC"/>
    </a:custClr>
    <a:custClr name="Generic purple">
      <a:srgbClr val="6666CC"/>
    </a:custClr>
    <a:custClr name="Generic dark orange">
      <a:srgbClr val="D76600"/>
    </a:custClr>
  </a:custClr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EO2016_M">
  <a:themeElements>
    <a:clrScheme name="BP Statistical Reviewfinal 2">
      <a:dk1>
        <a:srgbClr val="000000"/>
      </a:dk1>
      <a:lt1>
        <a:srgbClr val="FFFFFF"/>
      </a:lt1>
      <a:dk2>
        <a:srgbClr val="000000"/>
      </a:dk2>
      <a:lt2>
        <a:srgbClr val="006600"/>
      </a:lt2>
      <a:accent1>
        <a:srgbClr val="F5EBC1"/>
      </a:accent1>
      <a:accent2>
        <a:srgbClr val="FFCC00"/>
      </a:accent2>
      <a:accent3>
        <a:srgbClr val="FFFFFF"/>
      </a:accent3>
      <a:accent4>
        <a:srgbClr val="000000"/>
      </a:accent4>
      <a:accent5>
        <a:srgbClr val="F9F3DD"/>
      </a:accent5>
      <a:accent6>
        <a:srgbClr val="E7B900"/>
      </a:accent6>
      <a:hlink>
        <a:srgbClr val="D4876C"/>
      </a:hlink>
      <a:folHlink>
        <a:srgbClr val="B2B2B2"/>
      </a:folHlink>
    </a:clrScheme>
    <a:fontScheme name="BP Statistical Reviewfinal">
      <a:majorFont>
        <a:latin typeface="Univers 55"/>
        <a:ea typeface=""/>
        <a:cs typeface="Arial"/>
      </a:majorFont>
      <a:minorFont>
        <a:latin typeface="Univers 55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rgbClr val="007833"/>
            </a:solidFill>
            <a:effectLst/>
            <a:latin typeface="Univers 55" pitchFamily="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rgbClr val="007833"/>
            </a:solidFill>
            <a:effectLst/>
            <a:latin typeface="Univers 55" pitchFamily="2" charset="0"/>
          </a:defRPr>
        </a:defPPr>
      </a:lstStyle>
    </a:lnDef>
  </a:objectDefaults>
  <a:extraClrSchemeLst>
    <a:extraClrScheme>
      <a:clrScheme name="BP Statistical Reviewfinal 1">
        <a:dk1>
          <a:srgbClr val="FF9900"/>
        </a:dk1>
        <a:lt1>
          <a:srgbClr val="FFFFCC"/>
        </a:lt1>
        <a:dk2>
          <a:srgbClr val="000000"/>
        </a:dk2>
        <a:lt2>
          <a:srgbClr val="FFCC00"/>
        </a:lt2>
        <a:accent1>
          <a:srgbClr val="6B6253"/>
        </a:accent1>
        <a:accent2>
          <a:srgbClr val="72543E"/>
        </a:accent2>
        <a:accent3>
          <a:srgbClr val="AAAAAA"/>
        </a:accent3>
        <a:accent4>
          <a:srgbClr val="DADAAE"/>
        </a:accent4>
        <a:accent5>
          <a:srgbClr val="BAB7B3"/>
        </a:accent5>
        <a:accent6>
          <a:srgbClr val="674B37"/>
        </a:accent6>
        <a:hlink>
          <a:srgbClr val="DA988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P Statistical Reviewfinal 2">
        <a:dk1>
          <a:srgbClr val="000000"/>
        </a:dk1>
        <a:lt1>
          <a:srgbClr val="FFFFFF"/>
        </a:lt1>
        <a:dk2>
          <a:srgbClr val="000000"/>
        </a:dk2>
        <a:lt2>
          <a:srgbClr val="006600"/>
        </a:lt2>
        <a:accent1>
          <a:srgbClr val="F5EBC1"/>
        </a:accent1>
        <a:accent2>
          <a:srgbClr val="FFCC00"/>
        </a:accent2>
        <a:accent3>
          <a:srgbClr val="FFFFFF"/>
        </a:accent3>
        <a:accent4>
          <a:srgbClr val="000000"/>
        </a:accent4>
        <a:accent5>
          <a:srgbClr val="F9F3DD"/>
        </a:accent5>
        <a:accent6>
          <a:srgbClr val="E7B900"/>
        </a:accent6>
        <a:hlink>
          <a:srgbClr val="D4876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3">
        <a:dk1>
          <a:srgbClr val="000000"/>
        </a:dk1>
        <a:lt1>
          <a:srgbClr val="FFFFFF"/>
        </a:lt1>
        <a:dk2>
          <a:srgbClr val="000000"/>
        </a:dk2>
        <a:lt2>
          <a:srgbClr val="292929"/>
        </a:lt2>
        <a:accent1>
          <a:srgbClr val="EAEAEA"/>
        </a:accent1>
        <a:accent2>
          <a:srgbClr val="969696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878787"/>
        </a:accent6>
        <a:hlink>
          <a:srgbClr val="5F5F5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4">
        <a:dk1>
          <a:srgbClr val="000000"/>
        </a:dk1>
        <a:lt1>
          <a:srgbClr val="FFFFFF"/>
        </a:lt1>
        <a:dk2>
          <a:srgbClr val="000000"/>
        </a:dk2>
        <a:lt2>
          <a:srgbClr val="006600"/>
        </a:lt2>
        <a:accent1>
          <a:srgbClr val="D8EBB3"/>
        </a:accent1>
        <a:accent2>
          <a:srgbClr val="CCCC00"/>
        </a:accent2>
        <a:accent3>
          <a:srgbClr val="FFFFFF"/>
        </a:accent3>
        <a:accent4>
          <a:srgbClr val="000000"/>
        </a:accent4>
        <a:accent5>
          <a:srgbClr val="E9F3D6"/>
        </a:accent5>
        <a:accent6>
          <a:srgbClr val="B9B900"/>
        </a:accent6>
        <a:hlink>
          <a:srgbClr val="FFBE7D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5">
        <a:dk1>
          <a:srgbClr val="000000"/>
        </a:dk1>
        <a:lt1>
          <a:srgbClr val="E5D3B3"/>
        </a:lt1>
        <a:dk2>
          <a:srgbClr val="800000"/>
        </a:dk2>
        <a:lt2>
          <a:srgbClr val="009900"/>
        </a:lt2>
        <a:accent1>
          <a:srgbClr val="D5B095"/>
        </a:accent1>
        <a:accent2>
          <a:srgbClr val="E28666"/>
        </a:accent2>
        <a:accent3>
          <a:srgbClr val="F0E6D6"/>
        </a:accent3>
        <a:accent4>
          <a:srgbClr val="000000"/>
        </a:accent4>
        <a:accent5>
          <a:srgbClr val="E7D4C8"/>
        </a:accent5>
        <a:accent6>
          <a:srgbClr val="CD795C"/>
        </a:accent6>
        <a:hlink>
          <a:srgbClr val="B75735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6">
        <a:dk1>
          <a:srgbClr val="99CC00"/>
        </a:dk1>
        <a:lt1>
          <a:srgbClr val="FFFFFF"/>
        </a:lt1>
        <a:dk2>
          <a:srgbClr val="51399D"/>
        </a:dk2>
        <a:lt2>
          <a:srgbClr val="FFFFCC"/>
        </a:lt2>
        <a:accent1>
          <a:srgbClr val="877CAA"/>
        </a:accent1>
        <a:accent2>
          <a:srgbClr val="000058"/>
        </a:accent2>
        <a:accent3>
          <a:srgbClr val="B3AECC"/>
        </a:accent3>
        <a:accent4>
          <a:srgbClr val="DADADA"/>
        </a:accent4>
        <a:accent5>
          <a:srgbClr val="C3BFD2"/>
        </a:accent5>
        <a:accent6>
          <a:srgbClr val="00004F"/>
        </a:accent6>
        <a:hlink>
          <a:srgbClr val="FFCC0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P Statistical Reviewfinal 7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99CC0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CAE2AA"/>
        </a:accent5>
        <a:accent6>
          <a:srgbClr val="E78A00"/>
        </a:accent6>
        <a:hlink>
          <a:srgbClr val="FF6600"/>
        </a:hlink>
        <a:folHlink>
          <a:srgbClr val="FFF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8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8FC20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C6DDAA"/>
        </a:accent5>
        <a:accent6>
          <a:srgbClr val="E78A00"/>
        </a:accent6>
        <a:hlink>
          <a:srgbClr val="FF6600"/>
        </a:hlink>
        <a:folHlink>
          <a:srgbClr val="FEF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9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FEF800"/>
        </a:accent1>
        <a:accent2>
          <a:srgbClr val="8FC200"/>
        </a:accent2>
        <a:accent3>
          <a:srgbClr val="FFFFFF"/>
        </a:accent3>
        <a:accent4>
          <a:srgbClr val="000000"/>
        </a:accent4>
        <a:accent5>
          <a:srgbClr val="FEFBAA"/>
        </a:accent5>
        <a:accent6>
          <a:srgbClr val="81B000"/>
        </a:accent6>
        <a:hlink>
          <a:srgbClr val="FF99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10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FEF800"/>
        </a:accent1>
        <a:accent2>
          <a:srgbClr val="85B400"/>
        </a:accent2>
        <a:accent3>
          <a:srgbClr val="FFFFFF"/>
        </a:accent3>
        <a:accent4>
          <a:srgbClr val="000000"/>
        </a:accent4>
        <a:accent5>
          <a:srgbClr val="FEFBAA"/>
        </a:accent5>
        <a:accent6>
          <a:srgbClr val="78A300"/>
        </a:accent6>
        <a:hlink>
          <a:srgbClr val="FF99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11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FEF800"/>
        </a:accent1>
        <a:accent2>
          <a:srgbClr val="7FAC00"/>
        </a:accent2>
        <a:accent3>
          <a:srgbClr val="FFFFFF"/>
        </a:accent3>
        <a:accent4>
          <a:srgbClr val="000000"/>
        </a:accent4>
        <a:accent5>
          <a:srgbClr val="FEFBAA"/>
        </a:accent5>
        <a:accent6>
          <a:srgbClr val="729B00"/>
        </a:accent6>
        <a:hlink>
          <a:srgbClr val="FF99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12">
        <a:dk1>
          <a:srgbClr val="000000"/>
        </a:dk1>
        <a:lt1>
          <a:srgbClr val="FFFFFF"/>
        </a:lt1>
        <a:dk2>
          <a:srgbClr val="99CC00"/>
        </a:dk2>
        <a:lt2>
          <a:srgbClr val="666666"/>
        </a:lt2>
        <a:accent1>
          <a:srgbClr val="FBCC00"/>
        </a:accent1>
        <a:accent2>
          <a:srgbClr val="DC0000"/>
        </a:accent2>
        <a:accent3>
          <a:srgbClr val="FFFFFF"/>
        </a:accent3>
        <a:accent4>
          <a:srgbClr val="000000"/>
        </a:accent4>
        <a:accent5>
          <a:srgbClr val="FDE2AA"/>
        </a:accent5>
        <a:accent6>
          <a:srgbClr val="C70000"/>
        </a:accent6>
        <a:hlink>
          <a:srgbClr val="6600D2"/>
        </a:hlink>
        <a:folHlink>
          <a:srgbClr val="0086B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13">
        <a:dk1>
          <a:srgbClr val="000000"/>
        </a:dk1>
        <a:lt1>
          <a:srgbClr val="FFFFFF"/>
        </a:lt1>
        <a:dk2>
          <a:srgbClr val="99CC00"/>
        </a:dk2>
        <a:lt2>
          <a:srgbClr val="666666"/>
        </a:lt2>
        <a:accent1>
          <a:srgbClr val="FBCC00"/>
        </a:accent1>
        <a:accent2>
          <a:srgbClr val="DC0000"/>
        </a:accent2>
        <a:accent3>
          <a:srgbClr val="FFFFFF"/>
        </a:accent3>
        <a:accent4>
          <a:srgbClr val="000000"/>
        </a:accent4>
        <a:accent5>
          <a:srgbClr val="FDE2AA"/>
        </a:accent5>
        <a:accent6>
          <a:srgbClr val="C70000"/>
        </a:accent6>
        <a:hlink>
          <a:srgbClr val="7C05FF"/>
        </a:hlink>
        <a:folHlink>
          <a:srgbClr val="0086B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Oil_North America_US">
      <a:srgbClr val="99CC00"/>
    </a:custClr>
    <a:custClr name="Natural Gas_Africa">
      <a:srgbClr val="DC0000"/>
    </a:custClr>
    <a:custClr name="Coal">
      <a:srgbClr val="666666"/>
    </a:custClr>
    <a:custClr name="Hydro-Transport">
      <a:srgbClr val="009EE0"/>
    </a:custClr>
    <a:custClr name="Nuclear-Asia Pacific">
      <a:srgbClr val="FFCC00"/>
    </a:custClr>
    <a:custClr name="Renewables_Middle East">
      <a:srgbClr val="FF6600"/>
    </a:custClr>
    <a:custClr name="Primary Energy-Power">
      <a:srgbClr val="6633C9"/>
    </a:custClr>
    <a:custClr name="SC America-Non-OPEC">
      <a:srgbClr val="006600"/>
    </a:custClr>
    <a:custClr name="Europe_Eurasia">
      <a:srgbClr val="3DA599"/>
    </a:custClr>
    <a:custClr name="China">
      <a:srgbClr val="3366FF"/>
    </a:custClr>
    <a:custClr name="India_LNG">
      <a:srgbClr val="8BDEFF"/>
    </a:custClr>
    <a:custClr name="FSU_Russia">
      <a:srgbClr val="660099"/>
    </a:custClr>
    <a:custClr name="Other FSU">
      <a:srgbClr val="CD9BFF"/>
    </a:custClr>
    <a:custClr name="Brazil">
      <a:srgbClr val="000099"/>
    </a:custClr>
    <a:custClr name="Canada_Other Sector">
      <a:srgbClr val="FF9999"/>
    </a:custClr>
    <a:custClr name="Mexico_Pipeline gas">
      <a:srgbClr val="993366"/>
    </a:custClr>
    <a:custClr name="OECD">
      <a:srgbClr val="009900"/>
    </a:custClr>
    <a:custClr name="Non-OECD">
      <a:srgbClr val="C8FB8D"/>
    </a:custClr>
    <a:custClr name="EU">
      <a:srgbClr val="C49100"/>
    </a:custClr>
    <a:custClr name="RoW_World_GDP">
      <a:srgbClr val="FF9900"/>
    </a:custClr>
    <a:custClr name="OPEC">
      <a:srgbClr val="FDF100"/>
    </a:custClr>
    <a:custClr name="Industry">
      <a:srgbClr val="CC0033"/>
    </a:custClr>
    <a:custClr name="Biofuels">
      <a:srgbClr val="339966"/>
    </a:custClr>
    <a:custClr name="Generic blue-green">
      <a:srgbClr val="00CCCC"/>
    </a:custClr>
    <a:custClr name="Generic purple">
      <a:srgbClr val="6666CC"/>
    </a:custClr>
    <a:custClr name="Generic dark orange">
      <a:srgbClr val="D76600"/>
    </a:custClr>
  </a:custClrLst>
</a:theme>
</file>

<file path=ppt/theme/theme4.xml><?xml version="1.0" encoding="utf-8"?>
<a:theme xmlns:a="http://schemas.openxmlformats.org/drawingml/2006/main" name="3_EO2016_M">
  <a:themeElements>
    <a:clrScheme name="BP Statistical Reviewfinal 13">
      <a:dk1>
        <a:srgbClr val="000000"/>
      </a:dk1>
      <a:lt1>
        <a:srgbClr val="FFFFFF"/>
      </a:lt1>
      <a:dk2>
        <a:srgbClr val="99CC00"/>
      </a:dk2>
      <a:lt2>
        <a:srgbClr val="666666"/>
      </a:lt2>
      <a:accent1>
        <a:srgbClr val="FBCC00"/>
      </a:accent1>
      <a:accent2>
        <a:srgbClr val="DC0000"/>
      </a:accent2>
      <a:accent3>
        <a:srgbClr val="FFFFFF"/>
      </a:accent3>
      <a:accent4>
        <a:srgbClr val="000000"/>
      </a:accent4>
      <a:accent5>
        <a:srgbClr val="FDE2AA"/>
      </a:accent5>
      <a:accent6>
        <a:srgbClr val="C70000"/>
      </a:accent6>
      <a:hlink>
        <a:srgbClr val="7C05FF"/>
      </a:hlink>
      <a:folHlink>
        <a:srgbClr val="0086B4"/>
      </a:folHlink>
    </a:clrScheme>
    <a:fontScheme name="BP Statistical Reviewfinal">
      <a:majorFont>
        <a:latin typeface="Univers 55"/>
        <a:ea typeface=""/>
        <a:cs typeface="Arial"/>
      </a:majorFont>
      <a:minorFont>
        <a:latin typeface="Univers 55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rgbClr val="007833"/>
            </a:solidFill>
            <a:effectLst/>
            <a:latin typeface="Univers 55" pitchFamily="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rgbClr val="007833"/>
            </a:solidFill>
            <a:effectLst/>
            <a:latin typeface="Univers 55" pitchFamily="2" charset="0"/>
          </a:defRPr>
        </a:defPPr>
      </a:lstStyle>
    </a:lnDef>
  </a:objectDefaults>
  <a:extraClrSchemeLst>
    <a:extraClrScheme>
      <a:clrScheme name="BP Statistical Reviewfinal 1">
        <a:dk1>
          <a:srgbClr val="FF9900"/>
        </a:dk1>
        <a:lt1>
          <a:srgbClr val="FFFFCC"/>
        </a:lt1>
        <a:dk2>
          <a:srgbClr val="000000"/>
        </a:dk2>
        <a:lt2>
          <a:srgbClr val="FFCC00"/>
        </a:lt2>
        <a:accent1>
          <a:srgbClr val="6B6253"/>
        </a:accent1>
        <a:accent2>
          <a:srgbClr val="72543E"/>
        </a:accent2>
        <a:accent3>
          <a:srgbClr val="AAAAAA"/>
        </a:accent3>
        <a:accent4>
          <a:srgbClr val="DADAAE"/>
        </a:accent4>
        <a:accent5>
          <a:srgbClr val="BAB7B3"/>
        </a:accent5>
        <a:accent6>
          <a:srgbClr val="674B37"/>
        </a:accent6>
        <a:hlink>
          <a:srgbClr val="DA988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P Statistical Reviewfinal 2">
        <a:dk1>
          <a:srgbClr val="000000"/>
        </a:dk1>
        <a:lt1>
          <a:srgbClr val="FFFFFF"/>
        </a:lt1>
        <a:dk2>
          <a:srgbClr val="000000"/>
        </a:dk2>
        <a:lt2>
          <a:srgbClr val="006600"/>
        </a:lt2>
        <a:accent1>
          <a:srgbClr val="F5EBC1"/>
        </a:accent1>
        <a:accent2>
          <a:srgbClr val="FFCC00"/>
        </a:accent2>
        <a:accent3>
          <a:srgbClr val="FFFFFF"/>
        </a:accent3>
        <a:accent4>
          <a:srgbClr val="000000"/>
        </a:accent4>
        <a:accent5>
          <a:srgbClr val="F9F3DD"/>
        </a:accent5>
        <a:accent6>
          <a:srgbClr val="E7B900"/>
        </a:accent6>
        <a:hlink>
          <a:srgbClr val="D4876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3">
        <a:dk1>
          <a:srgbClr val="000000"/>
        </a:dk1>
        <a:lt1>
          <a:srgbClr val="FFFFFF"/>
        </a:lt1>
        <a:dk2>
          <a:srgbClr val="000000"/>
        </a:dk2>
        <a:lt2>
          <a:srgbClr val="292929"/>
        </a:lt2>
        <a:accent1>
          <a:srgbClr val="EAEAEA"/>
        </a:accent1>
        <a:accent2>
          <a:srgbClr val="969696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878787"/>
        </a:accent6>
        <a:hlink>
          <a:srgbClr val="5F5F5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4">
        <a:dk1>
          <a:srgbClr val="000000"/>
        </a:dk1>
        <a:lt1>
          <a:srgbClr val="FFFFFF"/>
        </a:lt1>
        <a:dk2>
          <a:srgbClr val="000000"/>
        </a:dk2>
        <a:lt2>
          <a:srgbClr val="006600"/>
        </a:lt2>
        <a:accent1>
          <a:srgbClr val="D8EBB3"/>
        </a:accent1>
        <a:accent2>
          <a:srgbClr val="CCCC00"/>
        </a:accent2>
        <a:accent3>
          <a:srgbClr val="FFFFFF"/>
        </a:accent3>
        <a:accent4>
          <a:srgbClr val="000000"/>
        </a:accent4>
        <a:accent5>
          <a:srgbClr val="E9F3D6"/>
        </a:accent5>
        <a:accent6>
          <a:srgbClr val="B9B900"/>
        </a:accent6>
        <a:hlink>
          <a:srgbClr val="FFBE7D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5">
        <a:dk1>
          <a:srgbClr val="000000"/>
        </a:dk1>
        <a:lt1>
          <a:srgbClr val="E5D3B3"/>
        </a:lt1>
        <a:dk2>
          <a:srgbClr val="800000"/>
        </a:dk2>
        <a:lt2>
          <a:srgbClr val="009900"/>
        </a:lt2>
        <a:accent1>
          <a:srgbClr val="D5B095"/>
        </a:accent1>
        <a:accent2>
          <a:srgbClr val="E28666"/>
        </a:accent2>
        <a:accent3>
          <a:srgbClr val="F0E6D6"/>
        </a:accent3>
        <a:accent4>
          <a:srgbClr val="000000"/>
        </a:accent4>
        <a:accent5>
          <a:srgbClr val="E7D4C8"/>
        </a:accent5>
        <a:accent6>
          <a:srgbClr val="CD795C"/>
        </a:accent6>
        <a:hlink>
          <a:srgbClr val="B75735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6">
        <a:dk1>
          <a:srgbClr val="99CC00"/>
        </a:dk1>
        <a:lt1>
          <a:srgbClr val="FFFFFF"/>
        </a:lt1>
        <a:dk2>
          <a:srgbClr val="51399D"/>
        </a:dk2>
        <a:lt2>
          <a:srgbClr val="FFFFCC"/>
        </a:lt2>
        <a:accent1>
          <a:srgbClr val="877CAA"/>
        </a:accent1>
        <a:accent2>
          <a:srgbClr val="000058"/>
        </a:accent2>
        <a:accent3>
          <a:srgbClr val="B3AECC"/>
        </a:accent3>
        <a:accent4>
          <a:srgbClr val="DADADA"/>
        </a:accent4>
        <a:accent5>
          <a:srgbClr val="C3BFD2"/>
        </a:accent5>
        <a:accent6>
          <a:srgbClr val="00004F"/>
        </a:accent6>
        <a:hlink>
          <a:srgbClr val="FFCC0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P Statistical Reviewfinal 7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99CC0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CAE2AA"/>
        </a:accent5>
        <a:accent6>
          <a:srgbClr val="E78A00"/>
        </a:accent6>
        <a:hlink>
          <a:srgbClr val="FF6600"/>
        </a:hlink>
        <a:folHlink>
          <a:srgbClr val="FFF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8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8FC20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C6DDAA"/>
        </a:accent5>
        <a:accent6>
          <a:srgbClr val="E78A00"/>
        </a:accent6>
        <a:hlink>
          <a:srgbClr val="FF6600"/>
        </a:hlink>
        <a:folHlink>
          <a:srgbClr val="FEF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9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FEF800"/>
        </a:accent1>
        <a:accent2>
          <a:srgbClr val="8FC200"/>
        </a:accent2>
        <a:accent3>
          <a:srgbClr val="FFFFFF"/>
        </a:accent3>
        <a:accent4>
          <a:srgbClr val="000000"/>
        </a:accent4>
        <a:accent5>
          <a:srgbClr val="FEFBAA"/>
        </a:accent5>
        <a:accent6>
          <a:srgbClr val="81B000"/>
        </a:accent6>
        <a:hlink>
          <a:srgbClr val="FF99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10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FEF800"/>
        </a:accent1>
        <a:accent2>
          <a:srgbClr val="85B400"/>
        </a:accent2>
        <a:accent3>
          <a:srgbClr val="FFFFFF"/>
        </a:accent3>
        <a:accent4>
          <a:srgbClr val="000000"/>
        </a:accent4>
        <a:accent5>
          <a:srgbClr val="FEFBAA"/>
        </a:accent5>
        <a:accent6>
          <a:srgbClr val="78A300"/>
        </a:accent6>
        <a:hlink>
          <a:srgbClr val="FF99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11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FEF800"/>
        </a:accent1>
        <a:accent2>
          <a:srgbClr val="7FAC00"/>
        </a:accent2>
        <a:accent3>
          <a:srgbClr val="FFFFFF"/>
        </a:accent3>
        <a:accent4>
          <a:srgbClr val="000000"/>
        </a:accent4>
        <a:accent5>
          <a:srgbClr val="FEFBAA"/>
        </a:accent5>
        <a:accent6>
          <a:srgbClr val="729B00"/>
        </a:accent6>
        <a:hlink>
          <a:srgbClr val="FF99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12">
        <a:dk1>
          <a:srgbClr val="000000"/>
        </a:dk1>
        <a:lt1>
          <a:srgbClr val="FFFFFF"/>
        </a:lt1>
        <a:dk2>
          <a:srgbClr val="99CC00"/>
        </a:dk2>
        <a:lt2>
          <a:srgbClr val="666666"/>
        </a:lt2>
        <a:accent1>
          <a:srgbClr val="FBCC00"/>
        </a:accent1>
        <a:accent2>
          <a:srgbClr val="DC0000"/>
        </a:accent2>
        <a:accent3>
          <a:srgbClr val="FFFFFF"/>
        </a:accent3>
        <a:accent4>
          <a:srgbClr val="000000"/>
        </a:accent4>
        <a:accent5>
          <a:srgbClr val="FDE2AA"/>
        </a:accent5>
        <a:accent6>
          <a:srgbClr val="C70000"/>
        </a:accent6>
        <a:hlink>
          <a:srgbClr val="6600D2"/>
        </a:hlink>
        <a:folHlink>
          <a:srgbClr val="0086B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13">
        <a:dk1>
          <a:srgbClr val="000000"/>
        </a:dk1>
        <a:lt1>
          <a:srgbClr val="FFFFFF"/>
        </a:lt1>
        <a:dk2>
          <a:srgbClr val="99CC00"/>
        </a:dk2>
        <a:lt2>
          <a:srgbClr val="666666"/>
        </a:lt2>
        <a:accent1>
          <a:srgbClr val="FBCC00"/>
        </a:accent1>
        <a:accent2>
          <a:srgbClr val="DC0000"/>
        </a:accent2>
        <a:accent3>
          <a:srgbClr val="FFFFFF"/>
        </a:accent3>
        <a:accent4>
          <a:srgbClr val="000000"/>
        </a:accent4>
        <a:accent5>
          <a:srgbClr val="FDE2AA"/>
        </a:accent5>
        <a:accent6>
          <a:srgbClr val="C70000"/>
        </a:accent6>
        <a:hlink>
          <a:srgbClr val="7C05FF"/>
        </a:hlink>
        <a:folHlink>
          <a:srgbClr val="0086B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Oil_North America_US">
      <a:srgbClr val="99CC00"/>
    </a:custClr>
    <a:custClr name="Natural Gas_Africa">
      <a:srgbClr val="DC0000"/>
    </a:custClr>
    <a:custClr name="Coal">
      <a:srgbClr val="666666"/>
    </a:custClr>
    <a:custClr name="Hydro-Transport">
      <a:srgbClr val="009EE0"/>
    </a:custClr>
    <a:custClr name="Nuclear-Asia Pacific">
      <a:srgbClr val="FFCC00"/>
    </a:custClr>
    <a:custClr name="Renewables_Middle East">
      <a:srgbClr val="FF6600"/>
    </a:custClr>
    <a:custClr name="Primary Energy-Power">
      <a:srgbClr val="6633C9"/>
    </a:custClr>
    <a:custClr name="SC America-Non-OPEC">
      <a:srgbClr val="006600"/>
    </a:custClr>
    <a:custClr name="Europe_Eurasia">
      <a:srgbClr val="3DA599"/>
    </a:custClr>
    <a:custClr name="China">
      <a:srgbClr val="3366FF"/>
    </a:custClr>
    <a:custClr name="India_LNG">
      <a:srgbClr val="8BDEFF"/>
    </a:custClr>
    <a:custClr name="FSU_Russia">
      <a:srgbClr val="660099"/>
    </a:custClr>
    <a:custClr name="Other FSU">
      <a:srgbClr val="CD9BFF"/>
    </a:custClr>
    <a:custClr name="Brazil">
      <a:srgbClr val="000099"/>
    </a:custClr>
    <a:custClr name="Canada_Other Sector">
      <a:srgbClr val="FF9999"/>
    </a:custClr>
    <a:custClr name="Mexico_Pipeline gas">
      <a:srgbClr val="993366"/>
    </a:custClr>
    <a:custClr name="OECD">
      <a:srgbClr val="009900"/>
    </a:custClr>
    <a:custClr name="Non-OECD">
      <a:srgbClr val="C8FB8D"/>
    </a:custClr>
    <a:custClr name="EU">
      <a:srgbClr val="C49100"/>
    </a:custClr>
    <a:custClr name="RoW_World_GDP">
      <a:srgbClr val="FF9900"/>
    </a:custClr>
    <a:custClr name="OPEC">
      <a:srgbClr val="FDF100"/>
    </a:custClr>
    <a:custClr name="Industry">
      <a:srgbClr val="CC0033"/>
    </a:custClr>
    <a:custClr name="Biofuels">
      <a:srgbClr val="339966"/>
    </a:custClr>
    <a:custClr name="Generic blue-green">
      <a:srgbClr val="00CCCC"/>
    </a:custClr>
    <a:custClr name="Generic purple">
      <a:srgbClr val="6666CC"/>
    </a:custClr>
    <a:custClr name="Generic dark orange">
      <a:srgbClr val="D76600"/>
    </a:custClr>
  </a:custClrLst>
</a:theme>
</file>

<file path=ppt/theme/theme5.xml><?xml version="1.0" encoding="utf-8"?>
<a:theme xmlns:a="http://schemas.openxmlformats.org/drawingml/2006/main" name="4_EO2016_M">
  <a:themeElements>
    <a:clrScheme name="BP Statistical Reviewfinal 13">
      <a:dk1>
        <a:srgbClr val="000000"/>
      </a:dk1>
      <a:lt1>
        <a:srgbClr val="FFFFFF"/>
      </a:lt1>
      <a:dk2>
        <a:srgbClr val="99CC00"/>
      </a:dk2>
      <a:lt2>
        <a:srgbClr val="666666"/>
      </a:lt2>
      <a:accent1>
        <a:srgbClr val="FBCC00"/>
      </a:accent1>
      <a:accent2>
        <a:srgbClr val="DC0000"/>
      </a:accent2>
      <a:accent3>
        <a:srgbClr val="FFFFFF"/>
      </a:accent3>
      <a:accent4>
        <a:srgbClr val="000000"/>
      </a:accent4>
      <a:accent5>
        <a:srgbClr val="FDE2AA"/>
      </a:accent5>
      <a:accent6>
        <a:srgbClr val="C70000"/>
      </a:accent6>
      <a:hlink>
        <a:srgbClr val="7C05FF"/>
      </a:hlink>
      <a:folHlink>
        <a:srgbClr val="0086B4"/>
      </a:folHlink>
    </a:clrScheme>
    <a:fontScheme name="BP Statistical Reviewfinal">
      <a:majorFont>
        <a:latin typeface="Univers 55"/>
        <a:ea typeface=""/>
        <a:cs typeface="Arial"/>
      </a:majorFont>
      <a:minorFont>
        <a:latin typeface="Univers 55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rgbClr val="007833"/>
            </a:solidFill>
            <a:effectLst/>
            <a:latin typeface="Univers 55" pitchFamily="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rgbClr val="007833"/>
            </a:solidFill>
            <a:effectLst/>
            <a:latin typeface="Univers 55" pitchFamily="2" charset="0"/>
          </a:defRPr>
        </a:defPPr>
      </a:lstStyle>
    </a:lnDef>
  </a:objectDefaults>
  <a:extraClrSchemeLst>
    <a:extraClrScheme>
      <a:clrScheme name="BP Statistical Reviewfinal 1">
        <a:dk1>
          <a:srgbClr val="FF9900"/>
        </a:dk1>
        <a:lt1>
          <a:srgbClr val="FFFFCC"/>
        </a:lt1>
        <a:dk2>
          <a:srgbClr val="000000"/>
        </a:dk2>
        <a:lt2>
          <a:srgbClr val="FFCC00"/>
        </a:lt2>
        <a:accent1>
          <a:srgbClr val="6B6253"/>
        </a:accent1>
        <a:accent2>
          <a:srgbClr val="72543E"/>
        </a:accent2>
        <a:accent3>
          <a:srgbClr val="AAAAAA"/>
        </a:accent3>
        <a:accent4>
          <a:srgbClr val="DADAAE"/>
        </a:accent4>
        <a:accent5>
          <a:srgbClr val="BAB7B3"/>
        </a:accent5>
        <a:accent6>
          <a:srgbClr val="674B37"/>
        </a:accent6>
        <a:hlink>
          <a:srgbClr val="DA988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P Statistical Reviewfinal 2">
        <a:dk1>
          <a:srgbClr val="000000"/>
        </a:dk1>
        <a:lt1>
          <a:srgbClr val="FFFFFF"/>
        </a:lt1>
        <a:dk2>
          <a:srgbClr val="000000"/>
        </a:dk2>
        <a:lt2>
          <a:srgbClr val="006600"/>
        </a:lt2>
        <a:accent1>
          <a:srgbClr val="F5EBC1"/>
        </a:accent1>
        <a:accent2>
          <a:srgbClr val="FFCC00"/>
        </a:accent2>
        <a:accent3>
          <a:srgbClr val="FFFFFF"/>
        </a:accent3>
        <a:accent4>
          <a:srgbClr val="000000"/>
        </a:accent4>
        <a:accent5>
          <a:srgbClr val="F9F3DD"/>
        </a:accent5>
        <a:accent6>
          <a:srgbClr val="E7B900"/>
        </a:accent6>
        <a:hlink>
          <a:srgbClr val="D4876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3">
        <a:dk1>
          <a:srgbClr val="000000"/>
        </a:dk1>
        <a:lt1>
          <a:srgbClr val="FFFFFF"/>
        </a:lt1>
        <a:dk2>
          <a:srgbClr val="000000"/>
        </a:dk2>
        <a:lt2>
          <a:srgbClr val="292929"/>
        </a:lt2>
        <a:accent1>
          <a:srgbClr val="EAEAEA"/>
        </a:accent1>
        <a:accent2>
          <a:srgbClr val="969696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878787"/>
        </a:accent6>
        <a:hlink>
          <a:srgbClr val="5F5F5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4">
        <a:dk1>
          <a:srgbClr val="000000"/>
        </a:dk1>
        <a:lt1>
          <a:srgbClr val="FFFFFF"/>
        </a:lt1>
        <a:dk2>
          <a:srgbClr val="000000"/>
        </a:dk2>
        <a:lt2>
          <a:srgbClr val="006600"/>
        </a:lt2>
        <a:accent1>
          <a:srgbClr val="D8EBB3"/>
        </a:accent1>
        <a:accent2>
          <a:srgbClr val="CCCC00"/>
        </a:accent2>
        <a:accent3>
          <a:srgbClr val="FFFFFF"/>
        </a:accent3>
        <a:accent4>
          <a:srgbClr val="000000"/>
        </a:accent4>
        <a:accent5>
          <a:srgbClr val="E9F3D6"/>
        </a:accent5>
        <a:accent6>
          <a:srgbClr val="B9B900"/>
        </a:accent6>
        <a:hlink>
          <a:srgbClr val="FFBE7D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5">
        <a:dk1>
          <a:srgbClr val="000000"/>
        </a:dk1>
        <a:lt1>
          <a:srgbClr val="E5D3B3"/>
        </a:lt1>
        <a:dk2>
          <a:srgbClr val="800000"/>
        </a:dk2>
        <a:lt2>
          <a:srgbClr val="009900"/>
        </a:lt2>
        <a:accent1>
          <a:srgbClr val="D5B095"/>
        </a:accent1>
        <a:accent2>
          <a:srgbClr val="E28666"/>
        </a:accent2>
        <a:accent3>
          <a:srgbClr val="F0E6D6"/>
        </a:accent3>
        <a:accent4>
          <a:srgbClr val="000000"/>
        </a:accent4>
        <a:accent5>
          <a:srgbClr val="E7D4C8"/>
        </a:accent5>
        <a:accent6>
          <a:srgbClr val="CD795C"/>
        </a:accent6>
        <a:hlink>
          <a:srgbClr val="B75735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6">
        <a:dk1>
          <a:srgbClr val="99CC00"/>
        </a:dk1>
        <a:lt1>
          <a:srgbClr val="FFFFFF"/>
        </a:lt1>
        <a:dk2>
          <a:srgbClr val="51399D"/>
        </a:dk2>
        <a:lt2>
          <a:srgbClr val="FFFFCC"/>
        </a:lt2>
        <a:accent1>
          <a:srgbClr val="877CAA"/>
        </a:accent1>
        <a:accent2>
          <a:srgbClr val="000058"/>
        </a:accent2>
        <a:accent3>
          <a:srgbClr val="B3AECC"/>
        </a:accent3>
        <a:accent4>
          <a:srgbClr val="DADADA"/>
        </a:accent4>
        <a:accent5>
          <a:srgbClr val="C3BFD2"/>
        </a:accent5>
        <a:accent6>
          <a:srgbClr val="00004F"/>
        </a:accent6>
        <a:hlink>
          <a:srgbClr val="FFCC0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P Statistical Reviewfinal 7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99CC0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CAE2AA"/>
        </a:accent5>
        <a:accent6>
          <a:srgbClr val="E78A00"/>
        </a:accent6>
        <a:hlink>
          <a:srgbClr val="FF6600"/>
        </a:hlink>
        <a:folHlink>
          <a:srgbClr val="FFF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8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8FC20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C6DDAA"/>
        </a:accent5>
        <a:accent6>
          <a:srgbClr val="E78A00"/>
        </a:accent6>
        <a:hlink>
          <a:srgbClr val="FF6600"/>
        </a:hlink>
        <a:folHlink>
          <a:srgbClr val="FEF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9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FEF800"/>
        </a:accent1>
        <a:accent2>
          <a:srgbClr val="8FC200"/>
        </a:accent2>
        <a:accent3>
          <a:srgbClr val="FFFFFF"/>
        </a:accent3>
        <a:accent4>
          <a:srgbClr val="000000"/>
        </a:accent4>
        <a:accent5>
          <a:srgbClr val="FEFBAA"/>
        </a:accent5>
        <a:accent6>
          <a:srgbClr val="81B000"/>
        </a:accent6>
        <a:hlink>
          <a:srgbClr val="FF99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10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FEF800"/>
        </a:accent1>
        <a:accent2>
          <a:srgbClr val="85B400"/>
        </a:accent2>
        <a:accent3>
          <a:srgbClr val="FFFFFF"/>
        </a:accent3>
        <a:accent4>
          <a:srgbClr val="000000"/>
        </a:accent4>
        <a:accent5>
          <a:srgbClr val="FEFBAA"/>
        </a:accent5>
        <a:accent6>
          <a:srgbClr val="78A300"/>
        </a:accent6>
        <a:hlink>
          <a:srgbClr val="FF99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11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FEF800"/>
        </a:accent1>
        <a:accent2>
          <a:srgbClr val="7FAC00"/>
        </a:accent2>
        <a:accent3>
          <a:srgbClr val="FFFFFF"/>
        </a:accent3>
        <a:accent4>
          <a:srgbClr val="000000"/>
        </a:accent4>
        <a:accent5>
          <a:srgbClr val="FEFBAA"/>
        </a:accent5>
        <a:accent6>
          <a:srgbClr val="729B00"/>
        </a:accent6>
        <a:hlink>
          <a:srgbClr val="FF99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12">
        <a:dk1>
          <a:srgbClr val="000000"/>
        </a:dk1>
        <a:lt1>
          <a:srgbClr val="FFFFFF"/>
        </a:lt1>
        <a:dk2>
          <a:srgbClr val="99CC00"/>
        </a:dk2>
        <a:lt2>
          <a:srgbClr val="666666"/>
        </a:lt2>
        <a:accent1>
          <a:srgbClr val="FBCC00"/>
        </a:accent1>
        <a:accent2>
          <a:srgbClr val="DC0000"/>
        </a:accent2>
        <a:accent3>
          <a:srgbClr val="FFFFFF"/>
        </a:accent3>
        <a:accent4>
          <a:srgbClr val="000000"/>
        </a:accent4>
        <a:accent5>
          <a:srgbClr val="FDE2AA"/>
        </a:accent5>
        <a:accent6>
          <a:srgbClr val="C70000"/>
        </a:accent6>
        <a:hlink>
          <a:srgbClr val="6600D2"/>
        </a:hlink>
        <a:folHlink>
          <a:srgbClr val="0086B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13">
        <a:dk1>
          <a:srgbClr val="000000"/>
        </a:dk1>
        <a:lt1>
          <a:srgbClr val="FFFFFF"/>
        </a:lt1>
        <a:dk2>
          <a:srgbClr val="99CC00"/>
        </a:dk2>
        <a:lt2>
          <a:srgbClr val="666666"/>
        </a:lt2>
        <a:accent1>
          <a:srgbClr val="FBCC00"/>
        </a:accent1>
        <a:accent2>
          <a:srgbClr val="DC0000"/>
        </a:accent2>
        <a:accent3>
          <a:srgbClr val="FFFFFF"/>
        </a:accent3>
        <a:accent4>
          <a:srgbClr val="000000"/>
        </a:accent4>
        <a:accent5>
          <a:srgbClr val="FDE2AA"/>
        </a:accent5>
        <a:accent6>
          <a:srgbClr val="C70000"/>
        </a:accent6>
        <a:hlink>
          <a:srgbClr val="7C05FF"/>
        </a:hlink>
        <a:folHlink>
          <a:srgbClr val="0086B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Oil_North America_US">
      <a:srgbClr val="99CC00"/>
    </a:custClr>
    <a:custClr name="Natural Gas_Africa">
      <a:srgbClr val="DC0000"/>
    </a:custClr>
    <a:custClr name="Coal">
      <a:srgbClr val="666666"/>
    </a:custClr>
    <a:custClr name="Hydro-Transport">
      <a:srgbClr val="009EE0"/>
    </a:custClr>
    <a:custClr name="Nuclear-Asia Pacific">
      <a:srgbClr val="FFCC00"/>
    </a:custClr>
    <a:custClr name="Renewables_Middle East">
      <a:srgbClr val="FF6600"/>
    </a:custClr>
    <a:custClr name="Primary Energy-Power">
      <a:srgbClr val="6633C9"/>
    </a:custClr>
    <a:custClr name="SC America-Non-OPEC">
      <a:srgbClr val="006600"/>
    </a:custClr>
    <a:custClr name="Europe_Eurasia">
      <a:srgbClr val="3DA599"/>
    </a:custClr>
    <a:custClr name="China">
      <a:srgbClr val="3366FF"/>
    </a:custClr>
    <a:custClr name="India_LNG">
      <a:srgbClr val="8BDEFF"/>
    </a:custClr>
    <a:custClr name="FSU_Russia">
      <a:srgbClr val="660099"/>
    </a:custClr>
    <a:custClr name="Other FSU">
      <a:srgbClr val="CD9BFF"/>
    </a:custClr>
    <a:custClr name="Brazil">
      <a:srgbClr val="000099"/>
    </a:custClr>
    <a:custClr name="Canada_Other Sector">
      <a:srgbClr val="FF9999"/>
    </a:custClr>
    <a:custClr name="Mexico_Pipeline gas">
      <a:srgbClr val="993366"/>
    </a:custClr>
    <a:custClr name="OECD">
      <a:srgbClr val="009900"/>
    </a:custClr>
    <a:custClr name="Non-OECD">
      <a:srgbClr val="C8FB8D"/>
    </a:custClr>
    <a:custClr name="EU">
      <a:srgbClr val="C49100"/>
    </a:custClr>
    <a:custClr name="RoW_World_GDP">
      <a:srgbClr val="FF9900"/>
    </a:custClr>
    <a:custClr name="OPEC">
      <a:srgbClr val="FDF100"/>
    </a:custClr>
    <a:custClr name="Industry">
      <a:srgbClr val="CC0033"/>
    </a:custClr>
    <a:custClr name="Biofuels">
      <a:srgbClr val="339966"/>
    </a:custClr>
    <a:custClr name="Generic blue-green">
      <a:srgbClr val="00CCCC"/>
    </a:custClr>
    <a:custClr name="Generic purple">
      <a:srgbClr val="6666CC"/>
    </a:custClr>
    <a:custClr name="Generic dark orange">
      <a:srgbClr val="D76600"/>
    </a:custClr>
  </a:custClrLst>
</a:theme>
</file>

<file path=ppt/theme/theme6.xml><?xml version="1.0" encoding="utf-8"?>
<a:theme xmlns:a="http://schemas.openxmlformats.org/drawingml/2006/main" name="5_EO2016_M">
  <a:themeElements>
    <a:clrScheme name="BP Statistical Reviewfinal 13">
      <a:dk1>
        <a:srgbClr val="000000"/>
      </a:dk1>
      <a:lt1>
        <a:srgbClr val="FFFFFF"/>
      </a:lt1>
      <a:dk2>
        <a:srgbClr val="99CC00"/>
      </a:dk2>
      <a:lt2>
        <a:srgbClr val="666666"/>
      </a:lt2>
      <a:accent1>
        <a:srgbClr val="FBCC00"/>
      </a:accent1>
      <a:accent2>
        <a:srgbClr val="DC0000"/>
      </a:accent2>
      <a:accent3>
        <a:srgbClr val="FFFFFF"/>
      </a:accent3>
      <a:accent4>
        <a:srgbClr val="000000"/>
      </a:accent4>
      <a:accent5>
        <a:srgbClr val="FDE2AA"/>
      </a:accent5>
      <a:accent6>
        <a:srgbClr val="C70000"/>
      </a:accent6>
      <a:hlink>
        <a:srgbClr val="7C05FF"/>
      </a:hlink>
      <a:folHlink>
        <a:srgbClr val="0086B4"/>
      </a:folHlink>
    </a:clrScheme>
    <a:fontScheme name="BP Statistical Reviewfinal">
      <a:majorFont>
        <a:latin typeface="Univers 55"/>
        <a:ea typeface=""/>
        <a:cs typeface="Arial"/>
      </a:majorFont>
      <a:minorFont>
        <a:latin typeface="Univers 55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rgbClr val="007833"/>
            </a:solidFill>
            <a:effectLst/>
            <a:latin typeface="Univers 55" pitchFamily="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rgbClr val="007833"/>
            </a:solidFill>
            <a:effectLst/>
            <a:latin typeface="Univers 55" pitchFamily="2" charset="0"/>
          </a:defRPr>
        </a:defPPr>
      </a:lstStyle>
    </a:lnDef>
  </a:objectDefaults>
  <a:extraClrSchemeLst>
    <a:extraClrScheme>
      <a:clrScheme name="BP Statistical Reviewfinal 1">
        <a:dk1>
          <a:srgbClr val="FF9900"/>
        </a:dk1>
        <a:lt1>
          <a:srgbClr val="FFFFCC"/>
        </a:lt1>
        <a:dk2>
          <a:srgbClr val="000000"/>
        </a:dk2>
        <a:lt2>
          <a:srgbClr val="FFCC00"/>
        </a:lt2>
        <a:accent1>
          <a:srgbClr val="6B6253"/>
        </a:accent1>
        <a:accent2>
          <a:srgbClr val="72543E"/>
        </a:accent2>
        <a:accent3>
          <a:srgbClr val="AAAAAA"/>
        </a:accent3>
        <a:accent4>
          <a:srgbClr val="DADAAE"/>
        </a:accent4>
        <a:accent5>
          <a:srgbClr val="BAB7B3"/>
        </a:accent5>
        <a:accent6>
          <a:srgbClr val="674B37"/>
        </a:accent6>
        <a:hlink>
          <a:srgbClr val="DA988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P Statistical Reviewfinal 2">
        <a:dk1>
          <a:srgbClr val="000000"/>
        </a:dk1>
        <a:lt1>
          <a:srgbClr val="FFFFFF"/>
        </a:lt1>
        <a:dk2>
          <a:srgbClr val="000000"/>
        </a:dk2>
        <a:lt2>
          <a:srgbClr val="006600"/>
        </a:lt2>
        <a:accent1>
          <a:srgbClr val="F5EBC1"/>
        </a:accent1>
        <a:accent2>
          <a:srgbClr val="FFCC00"/>
        </a:accent2>
        <a:accent3>
          <a:srgbClr val="FFFFFF"/>
        </a:accent3>
        <a:accent4>
          <a:srgbClr val="000000"/>
        </a:accent4>
        <a:accent5>
          <a:srgbClr val="F9F3DD"/>
        </a:accent5>
        <a:accent6>
          <a:srgbClr val="E7B900"/>
        </a:accent6>
        <a:hlink>
          <a:srgbClr val="D4876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3">
        <a:dk1>
          <a:srgbClr val="000000"/>
        </a:dk1>
        <a:lt1>
          <a:srgbClr val="FFFFFF"/>
        </a:lt1>
        <a:dk2>
          <a:srgbClr val="000000"/>
        </a:dk2>
        <a:lt2>
          <a:srgbClr val="292929"/>
        </a:lt2>
        <a:accent1>
          <a:srgbClr val="EAEAEA"/>
        </a:accent1>
        <a:accent2>
          <a:srgbClr val="969696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878787"/>
        </a:accent6>
        <a:hlink>
          <a:srgbClr val="5F5F5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4">
        <a:dk1>
          <a:srgbClr val="000000"/>
        </a:dk1>
        <a:lt1>
          <a:srgbClr val="FFFFFF"/>
        </a:lt1>
        <a:dk2>
          <a:srgbClr val="000000"/>
        </a:dk2>
        <a:lt2>
          <a:srgbClr val="006600"/>
        </a:lt2>
        <a:accent1>
          <a:srgbClr val="D8EBB3"/>
        </a:accent1>
        <a:accent2>
          <a:srgbClr val="CCCC00"/>
        </a:accent2>
        <a:accent3>
          <a:srgbClr val="FFFFFF"/>
        </a:accent3>
        <a:accent4>
          <a:srgbClr val="000000"/>
        </a:accent4>
        <a:accent5>
          <a:srgbClr val="E9F3D6"/>
        </a:accent5>
        <a:accent6>
          <a:srgbClr val="B9B900"/>
        </a:accent6>
        <a:hlink>
          <a:srgbClr val="FFBE7D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5">
        <a:dk1>
          <a:srgbClr val="000000"/>
        </a:dk1>
        <a:lt1>
          <a:srgbClr val="E5D3B3"/>
        </a:lt1>
        <a:dk2>
          <a:srgbClr val="800000"/>
        </a:dk2>
        <a:lt2>
          <a:srgbClr val="009900"/>
        </a:lt2>
        <a:accent1>
          <a:srgbClr val="D5B095"/>
        </a:accent1>
        <a:accent2>
          <a:srgbClr val="E28666"/>
        </a:accent2>
        <a:accent3>
          <a:srgbClr val="F0E6D6"/>
        </a:accent3>
        <a:accent4>
          <a:srgbClr val="000000"/>
        </a:accent4>
        <a:accent5>
          <a:srgbClr val="E7D4C8"/>
        </a:accent5>
        <a:accent6>
          <a:srgbClr val="CD795C"/>
        </a:accent6>
        <a:hlink>
          <a:srgbClr val="B75735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6">
        <a:dk1>
          <a:srgbClr val="99CC00"/>
        </a:dk1>
        <a:lt1>
          <a:srgbClr val="FFFFFF"/>
        </a:lt1>
        <a:dk2>
          <a:srgbClr val="51399D"/>
        </a:dk2>
        <a:lt2>
          <a:srgbClr val="FFFFCC"/>
        </a:lt2>
        <a:accent1>
          <a:srgbClr val="877CAA"/>
        </a:accent1>
        <a:accent2>
          <a:srgbClr val="000058"/>
        </a:accent2>
        <a:accent3>
          <a:srgbClr val="B3AECC"/>
        </a:accent3>
        <a:accent4>
          <a:srgbClr val="DADADA"/>
        </a:accent4>
        <a:accent5>
          <a:srgbClr val="C3BFD2"/>
        </a:accent5>
        <a:accent6>
          <a:srgbClr val="00004F"/>
        </a:accent6>
        <a:hlink>
          <a:srgbClr val="FFCC00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P Statistical Reviewfinal 7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99CC0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CAE2AA"/>
        </a:accent5>
        <a:accent6>
          <a:srgbClr val="E78A00"/>
        </a:accent6>
        <a:hlink>
          <a:srgbClr val="FF6600"/>
        </a:hlink>
        <a:folHlink>
          <a:srgbClr val="FFF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8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8FC20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C6DDAA"/>
        </a:accent5>
        <a:accent6>
          <a:srgbClr val="E78A00"/>
        </a:accent6>
        <a:hlink>
          <a:srgbClr val="FF6600"/>
        </a:hlink>
        <a:folHlink>
          <a:srgbClr val="FEF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9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FEF800"/>
        </a:accent1>
        <a:accent2>
          <a:srgbClr val="8FC200"/>
        </a:accent2>
        <a:accent3>
          <a:srgbClr val="FFFFFF"/>
        </a:accent3>
        <a:accent4>
          <a:srgbClr val="000000"/>
        </a:accent4>
        <a:accent5>
          <a:srgbClr val="FEFBAA"/>
        </a:accent5>
        <a:accent6>
          <a:srgbClr val="81B000"/>
        </a:accent6>
        <a:hlink>
          <a:srgbClr val="FF99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10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FEF800"/>
        </a:accent1>
        <a:accent2>
          <a:srgbClr val="85B400"/>
        </a:accent2>
        <a:accent3>
          <a:srgbClr val="FFFFFF"/>
        </a:accent3>
        <a:accent4>
          <a:srgbClr val="000000"/>
        </a:accent4>
        <a:accent5>
          <a:srgbClr val="FEFBAA"/>
        </a:accent5>
        <a:accent6>
          <a:srgbClr val="78A300"/>
        </a:accent6>
        <a:hlink>
          <a:srgbClr val="FF99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11">
        <a:dk1>
          <a:srgbClr val="000000"/>
        </a:dk1>
        <a:lt1>
          <a:srgbClr val="FFFFFF"/>
        </a:lt1>
        <a:dk2>
          <a:srgbClr val="006600"/>
        </a:dk2>
        <a:lt2>
          <a:srgbClr val="969696"/>
        </a:lt2>
        <a:accent1>
          <a:srgbClr val="FEF800"/>
        </a:accent1>
        <a:accent2>
          <a:srgbClr val="7FAC00"/>
        </a:accent2>
        <a:accent3>
          <a:srgbClr val="FFFFFF"/>
        </a:accent3>
        <a:accent4>
          <a:srgbClr val="000000"/>
        </a:accent4>
        <a:accent5>
          <a:srgbClr val="FEFBAA"/>
        </a:accent5>
        <a:accent6>
          <a:srgbClr val="729B00"/>
        </a:accent6>
        <a:hlink>
          <a:srgbClr val="FF990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12">
        <a:dk1>
          <a:srgbClr val="000000"/>
        </a:dk1>
        <a:lt1>
          <a:srgbClr val="FFFFFF"/>
        </a:lt1>
        <a:dk2>
          <a:srgbClr val="99CC00"/>
        </a:dk2>
        <a:lt2>
          <a:srgbClr val="666666"/>
        </a:lt2>
        <a:accent1>
          <a:srgbClr val="FBCC00"/>
        </a:accent1>
        <a:accent2>
          <a:srgbClr val="DC0000"/>
        </a:accent2>
        <a:accent3>
          <a:srgbClr val="FFFFFF"/>
        </a:accent3>
        <a:accent4>
          <a:srgbClr val="000000"/>
        </a:accent4>
        <a:accent5>
          <a:srgbClr val="FDE2AA"/>
        </a:accent5>
        <a:accent6>
          <a:srgbClr val="C70000"/>
        </a:accent6>
        <a:hlink>
          <a:srgbClr val="6600D2"/>
        </a:hlink>
        <a:folHlink>
          <a:srgbClr val="0086B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P Statistical Reviewfinal 13">
        <a:dk1>
          <a:srgbClr val="000000"/>
        </a:dk1>
        <a:lt1>
          <a:srgbClr val="FFFFFF"/>
        </a:lt1>
        <a:dk2>
          <a:srgbClr val="99CC00"/>
        </a:dk2>
        <a:lt2>
          <a:srgbClr val="666666"/>
        </a:lt2>
        <a:accent1>
          <a:srgbClr val="FBCC00"/>
        </a:accent1>
        <a:accent2>
          <a:srgbClr val="DC0000"/>
        </a:accent2>
        <a:accent3>
          <a:srgbClr val="FFFFFF"/>
        </a:accent3>
        <a:accent4>
          <a:srgbClr val="000000"/>
        </a:accent4>
        <a:accent5>
          <a:srgbClr val="FDE2AA"/>
        </a:accent5>
        <a:accent6>
          <a:srgbClr val="C70000"/>
        </a:accent6>
        <a:hlink>
          <a:srgbClr val="7C05FF"/>
        </a:hlink>
        <a:folHlink>
          <a:srgbClr val="0086B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Oil_North America_US">
      <a:srgbClr val="99CC00"/>
    </a:custClr>
    <a:custClr name="Natural Gas_Africa">
      <a:srgbClr val="DC0000"/>
    </a:custClr>
    <a:custClr name="Coal">
      <a:srgbClr val="666666"/>
    </a:custClr>
    <a:custClr name="Hydro-Transport">
      <a:srgbClr val="009EE0"/>
    </a:custClr>
    <a:custClr name="Nuclear-Asia Pacific">
      <a:srgbClr val="FFCC00"/>
    </a:custClr>
    <a:custClr name="Renewables_Middle East">
      <a:srgbClr val="FF6600"/>
    </a:custClr>
    <a:custClr name="Primary Energy-Power">
      <a:srgbClr val="6633C9"/>
    </a:custClr>
    <a:custClr name="SC America-Non-OPEC">
      <a:srgbClr val="006600"/>
    </a:custClr>
    <a:custClr name="Europe_Eurasia">
      <a:srgbClr val="3DA599"/>
    </a:custClr>
    <a:custClr name="China">
      <a:srgbClr val="3366FF"/>
    </a:custClr>
    <a:custClr name="India_LNG">
      <a:srgbClr val="8BDEFF"/>
    </a:custClr>
    <a:custClr name="FSU_Russia">
      <a:srgbClr val="660099"/>
    </a:custClr>
    <a:custClr name="Other FSU">
      <a:srgbClr val="CD9BFF"/>
    </a:custClr>
    <a:custClr name="Brazil">
      <a:srgbClr val="000099"/>
    </a:custClr>
    <a:custClr name="Canada_Other Sector">
      <a:srgbClr val="FF9999"/>
    </a:custClr>
    <a:custClr name="Mexico_Pipeline gas">
      <a:srgbClr val="993366"/>
    </a:custClr>
    <a:custClr name="OECD">
      <a:srgbClr val="009900"/>
    </a:custClr>
    <a:custClr name="Non-OECD">
      <a:srgbClr val="C8FB8D"/>
    </a:custClr>
    <a:custClr name="EU">
      <a:srgbClr val="C49100"/>
    </a:custClr>
    <a:custClr name="RoW_World_GDP">
      <a:srgbClr val="FF9900"/>
    </a:custClr>
    <a:custClr name="OPEC">
      <a:srgbClr val="FDF100"/>
    </a:custClr>
    <a:custClr name="Industry">
      <a:srgbClr val="CC0033"/>
    </a:custClr>
    <a:custClr name="Biofuels">
      <a:srgbClr val="339966"/>
    </a:custClr>
    <a:custClr name="Generic blue-green">
      <a:srgbClr val="00CCCC"/>
    </a:custClr>
    <a:custClr name="Generic purple">
      <a:srgbClr val="6666CC"/>
    </a:custClr>
    <a:custClr name="Generic dark orange">
      <a:srgbClr val="D76600"/>
    </a:custClr>
  </a:custClrLst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6600"/>
      </a:dk2>
      <a:lt2>
        <a:srgbClr val="969696"/>
      </a:lt2>
      <a:accent1>
        <a:srgbClr val="99CC00"/>
      </a:accent1>
      <a:accent2>
        <a:srgbClr val="FF9900"/>
      </a:accent2>
      <a:accent3>
        <a:srgbClr val="FFFFFF"/>
      </a:accent3>
      <a:accent4>
        <a:srgbClr val="000000"/>
      </a:accent4>
      <a:accent5>
        <a:srgbClr val="CAE2AA"/>
      </a:accent5>
      <a:accent6>
        <a:srgbClr val="E78A00"/>
      </a:accent6>
      <a:hlink>
        <a:srgbClr val="FF6600"/>
      </a:hlink>
      <a:folHlink>
        <a:srgbClr val="FFFF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6600"/>
      </a:dk2>
      <a:lt2>
        <a:srgbClr val="969696"/>
      </a:lt2>
      <a:accent1>
        <a:srgbClr val="99CC00"/>
      </a:accent1>
      <a:accent2>
        <a:srgbClr val="FF9900"/>
      </a:accent2>
      <a:accent3>
        <a:srgbClr val="FFFFFF"/>
      </a:accent3>
      <a:accent4>
        <a:srgbClr val="000000"/>
      </a:accent4>
      <a:accent5>
        <a:srgbClr val="CAE2AA"/>
      </a:accent5>
      <a:accent6>
        <a:srgbClr val="E78A00"/>
      </a:accent6>
      <a:hlink>
        <a:srgbClr val="FF6600"/>
      </a:hlink>
      <a:folHlink>
        <a:srgbClr val="FFFF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Main Countries/Regions - BP Energy Outlook 2030">
    <a:dk1>
      <a:srgbClr val="000000"/>
    </a:dk1>
    <a:lt1>
      <a:srgbClr val="FFFFFF"/>
    </a:lt1>
    <a:dk2>
      <a:srgbClr val="006633"/>
    </a:dk2>
    <a:lt2>
      <a:srgbClr val="99CC00"/>
    </a:lt2>
    <a:accent1>
      <a:srgbClr val="999933"/>
    </a:accent1>
    <a:accent2>
      <a:srgbClr val="D76600"/>
    </a:accent2>
    <a:accent3>
      <a:srgbClr val="D7F400"/>
    </a:accent3>
    <a:accent4>
      <a:srgbClr val="FF9900"/>
    </a:accent4>
    <a:accent5>
      <a:srgbClr val="DCFB8D"/>
    </a:accent5>
    <a:accent6>
      <a:srgbClr val="33A57E"/>
    </a:accent6>
    <a:hlink>
      <a:srgbClr val="7C05FF"/>
    </a:hlink>
    <a:folHlink>
      <a:srgbClr val="0086B4"/>
    </a:folHlink>
  </a:clrScheme>
  <a:fontScheme name="BP Theme Fonts">
    <a:majorFont>
      <a:latin typeface="UniversGT-Light"/>
      <a:ea typeface=""/>
      <a:cs typeface=""/>
    </a:majorFont>
    <a:minorFont>
      <a:latin typeface="UniversGT-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Main Countries/Regions - BP Energy Outlook 2030">
    <a:dk1>
      <a:srgbClr val="000000"/>
    </a:dk1>
    <a:lt1>
      <a:srgbClr val="FFFFFF"/>
    </a:lt1>
    <a:dk2>
      <a:srgbClr val="006633"/>
    </a:dk2>
    <a:lt2>
      <a:srgbClr val="99CC00"/>
    </a:lt2>
    <a:accent1>
      <a:srgbClr val="999933"/>
    </a:accent1>
    <a:accent2>
      <a:srgbClr val="D76600"/>
    </a:accent2>
    <a:accent3>
      <a:srgbClr val="D7F400"/>
    </a:accent3>
    <a:accent4>
      <a:srgbClr val="FF9900"/>
    </a:accent4>
    <a:accent5>
      <a:srgbClr val="DCFB8D"/>
    </a:accent5>
    <a:accent6>
      <a:srgbClr val="33A57E"/>
    </a:accent6>
    <a:hlink>
      <a:srgbClr val="7C05FF"/>
    </a:hlink>
    <a:folHlink>
      <a:srgbClr val="0086B4"/>
    </a:folHlink>
  </a:clrScheme>
  <a:fontScheme name="BP Theme Fonts">
    <a:majorFont>
      <a:latin typeface="UniversGT-Light"/>
      <a:ea typeface=""/>
      <a:cs typeface=""/>
    </a:majorFont>
    <a:minorFont>
      <a:latin typeface="UniversGT-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Main Countries/Regions - BP Energy Outlook 2030">
    <a:dk1>
      <a:srgbClr val="000000"/>
    </a:dk1>
    <a:lt1>
      <a:srgbClr val="FFFFFF"/>
    </a:lt1>
    <a:dk2>
      <a:srgbClr val="006633"/>
    </a:dk2>
    <a:lt2>
      <a:srgbClr val="99CC00"/>
    </a:lt2>
    <a:accent1>
      <a:srgbClr val="999933"/>
    </a:accent1>
    <a:accent2>
      <a:srgbClr val="D76600"/>
    </a:accent2>
    <a:accent3>
      <a:srgbClr val="D7F400"/>
    </a:accent3>
    <a:accent4>
      <a:srgbClr val="FF9900"/>
    </a:accent4>
    <a:accent5>
      <a:srgbClr val="DCFB8D"/>
    </a:accent5>
    <a:accent6>
      <a:srgbClr val="33A57E"/>
    </a:accent6>
    <a:hlink>
      <a:srgbClr val="7C05FF"/>
    </a:hlink>
    <a:folHlink>
      <a:srgbClr val="0086B4"/>
    </a:folHlink>
  </a:clrScheme>
  <a:fontScheme name="BP Theme Fonts">
    <a:majorFont>
      <a:latin typeface="UniversGT-Light"/>
      <a:ea typeface=""/>
      <a:cs typeface=""/>
    </a:majorFont>
    <a:minorFont>
      <a:latin typeface="UniversGT-Light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50441A36637C74BB48402C7842A1441" ma:contentTypeVersion="9" ma:contentTypeDescription="Create a new document." ma:contentTypeScope="" ma:versionID="9d9e5a1000621aac83980f8903b7b6e6">
  <xsd:schema xmlns:xsd="http://www.w3.org/2001/XMLSchema" xmlns:xs="http://www.w3.org/2001/XMLSchema" xmlns:p="http://schemas.microsoft.com/office/2006/metadata/properties" xmlns:ns1="http://schemas.microsoft.com/sharepoint/v3" xmlns:ns2="8744d043-7643-4d11-a6b8-a28e1d3373ff" xmlns:ns3="e346a0d7-19f3-4350-82ed-7c342e57fcfb" targetNamespace="http://schemas.microsoft.com/office/2006/metadata/properties" ma:root="true" ma:fieldsID="f83b4d79c95997cd83b88415472aa275" ns1:_="" ns2:_="" ns3:_="">
    <xsd:import namespace="http://schemas.microsoft.com/sharepoint/v3"/>
    <xsd:import namespace="8744d043-7643-4d11-a6b8-a28e1d3373ff"/>
    <xsd:import namespace="e346a0d7-19f3-4350-82ed-7c342e57fcfb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EventHashCode" minOccurs="0"/>
                <xsd:element ref="ns2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44d043-7643-4d11-a6b8-a28e1d3373f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MediaServiceAutoTags" ma:internalName="MediaServiceAutoTags" ma:readOnly="true">
      <xsd:simpleType>
        <xsd:restriction base="dms:Text"/>
      </xsd:simpleType>
    </xsd:element>
    <xsd:element name="MediaServiceOCR" ma:index="13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346a0d7-19f3-4350-82ed-7c342e57fcfb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C499439-D08C-4526-A1D8-A42BCCF999F2}">
  <ds:schemaRefs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sharepoint/v3"/>
    <ds:schemaRef ds:uri="http://purl.org/dc/terms/"/>
    <ds:schemaRef ds:uri="e346a0d7-19f3-4350-82ed-7c342e57fcfb"/>
    <ds:schemaRef ds:uri="8744d043-7643-4d11-a6b8-a28e1d3373ff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FFD818A-405A-446E-B3E0-634FB3E4101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744d043-7643-4d11-a6b8-a28e1d3373ff"/>
    <ds:schemaRef ds:uri="e346a0d7-19f3-4350-82ed-7c342e57fcf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5E1D8F8-EB1E-45B0-ADEF-B2B9B50DAE3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0147</TotalTime>
  <Words>298</Words>
  <Application>Microsoft Office PowerPoint</Application>
  <PresentationFormat>On-screen Show (16:9)</PresentationFormat>
  <Paragraphs>78</Paragraphs>
  <Slides>11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6" baseType="lpstr">
      <vt:lpstr>Arial</vt:lpstr>
      <vt:lpstr>Calibri</vt:lpstr>
      <vt:lpstr>Calibri Light</vt:lpstr>
      <vt:lpstr>Univers 45 Light</vt:lpstr>
      <vt:lpstr>Univers 55</vt:lpstr>
      <vt:lpstr>Univers for BP</vt:lpstr>
      <vt:lpstr>Univers for BP Light</vt:lpstr>
      <vt:lpstr>Univers Next W1G for BP Light</vt:lpstr>
      <vt:lpstr>1_EO2016_M</vt:lpstr>
      <vt:lpstr>Custom Design</vt:lpstr>
      <vt:lpstr>2_EO2016_M</vt:lpstr>
      <vt:lpstr>3_EO2016_M</vt:lpstr>
      <vt:lpstr>4_EO2016_M</vt:lpstr>
      <vt:lpstr>5_EO2016_M</vt:lpstr>
      <vt:lpstr>think-cell Slide</vt:lpstr>
      <vt:lpstr>Bryan Lovell Meeting 2019</vt:lpstr>
      <vt:lpstr>PowerPoint Presentation</vt:lpstr>
      <vt:lpstr>PowerPoint Presentation</vt:lpstr>
      <vt:lpstr>PowerPoint Presentation</vt:lpstr>
      <vt:lpstr>Recent growth in carbon emissions </vt:lpstr>
      <vt:lpstr>Recent growth in carbon emissions </vt:lpstr>
      <vt:lpstr>Pathway to a lower-carbon Energy system </vt:lpstr>
      <vt:lpstr>Fuel shares in power generation</vt:lpstr>
      <vt:lpstr>Fuel mix in a lower carbon energy system</vt:lpstr>
      <vt:lpstr>Reducing carbon emissions beyond 2040</vt:lpstr>
      <vt:lpstr>Bryan Lovell Meeting 2019</vt:lpstr>
    </vt:vector>
  </TitlesOfParts>
  <Company>BP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ergy Outlook 2030</dc:title>
  <dc:creator>RdC</dc:creator>
  <cp:lastModifiedBy>Lloyd, Gareth</cp:lastModifiedBy>
  <cp:revision>6285</cp:revision>
  <cp:lastPrinted>2019-01-17T14:49:50Z</cp:lastPrinted>
  <dcterms:created xsi:type="dcterms:W3CDTF">2007-04-29T17:50:14Z</dcterms:created>
  <dcterms:modified xsi:type="dcterms:W3CDTF">2019-01-18T12:07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569bf4a9-87bd-4dbf-a36c-1db5158e5def_Enabled">
    <vt:lpwstr>True</vt:lpwstr>
  </property>
  <property fmtid="{D5CDD505-2E9C-101B-9397-08002B2CF9AE}" pid="3" name="MSIP_Label_569bf4a9-87bd-4dbf-a36c-1db5158e5def_SiteId">
    <vt:lpwstr>ea80952e-a476-42d4-aaf4-5457852b0f7e</vt:lpwstr>
  </property>
  <property fmtid="{D5CDD505-2E9C-101B-9397-08002B2CF9AE}" pid="4" name="MSIP_Label_569bf4a9-87bd-4dbf-a36c-1db5158e5def_Ref">
    <vt:lpwstr>https://api.informationprotection.azure.com/api/ea80952e-a476-42d4-aaf4-5457852b0f7e</vt:lpwstr>
  </property>
  <property fmtid="{D5CDD505-2E9C-101B-9397-08002B2CF9AE}" pid="5" name="MSIP_Label_569bf4a9-87bd-4dbf-a36c-1db5158e5def_Owner">
    <vt:lpwstr>Catherine.Ojo@bp.com</vt:lpwstr>
  </property>
  <property fmtid="{D5CDD505-2E9C-101B-9397-08002B2CF9AE}" pid="6" name="MSIP_Label_569bf4a9-87bd-4dbf-a36c-1db5158e5def_SetDate">
    <vt:lpwstr>2018-02-07T15:24:56.5106742+00:00</vt:lpwstr>
  </property>
  <property fmtid="{D5CDD505-2E9C-101B-9397-08002B2CF9AE}" pid="7" name="MSIP_Label_569bf4a9-87bd-4dbf-a36c-1db5158e5def_Name">
    <vt:lpwstr>General</vt:lpwstr>
  </property>
  <property fmtid="{D5CDD505-2E9C-101B-9397-08002B2CF9AE}" pid="8" name="MSIP_Label_569bf4a9-87bd-4dbf-a36c-1db5158e5def_Application">
    <vt:lpwstr>Microsoft Azure Information Protection</vt:lpwstr>
  </property>
  <property fmtid="{D5CDD505-2E9C-101B-9397-08002B2CF9AE}" pid="9" name="MSIP_Label_569bf4a9-87bd-4dbf-a36c-1db5158e5def_Extended_MSFT_Method">
    <vt:lpwstr>Manual</vt:lpwstr>
  </property>
  <property fmtid="{D5CDD505-2E9C-101B-9397-08002B2CF9AE}" pid="10" name="Sensitivity">
    <vt:lpwstr>General</vt:lpwstr>
  </property>
  <property fmtid="{D5CDD505-2E9C-101B-9397-08002B2CF9AE}" pid="11" name="ContentTypeId">
    <vt:lpwstr>0x010100B50441A36637C74BB48402C7842A1441</vt:lpwstr>
  </property>
</Properties>
</file>